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5"/>
  </p:notesMasterIdLst>
  <p:handoutMasterIdLst>
    <p:handoutMasterId r:id="rId16"/>
  </p:handoutMasterIdLst>
  <p:sldIdLst>
    <p:sldId id="257" r:id="rId5"/>
    <p:sldId id="258" r:id="rId6"/>
    <p:sldId id="3906" r:id="rId7"/>
    <p:sldId id="3899" r:id="rId8"/>
    <p:sldId id="3911" r:id="rId9"/>
    <p:sldId id="3900" r:id="rId10"/>
    <p:sldId id="3904" r:id="rId11"/>
    <p:sldId id="3902" r:id="rId12"/>
    <p:sldId id="3909" r:id="rId13"/>
    <p:sldId id="259" r:id="rId14"/>
  </p:sldIdLst>
  <p:sldSz cx="9144000" cy="6858000" type="screen4x3"/>
  <p:notesSz cx="7315200" cy="96012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727B97F-E187-4544-B9AB-F1C61613FC75}">
          <p14:sldIdLst>
            <p14:sldId id="257"/>
          </p14:sldIdLst>
        </p14:section>
        <p14:section name="Text Pages" id="{8654415F-F802-4879-A02A-DD8E7AF6AEFA}">
          <p14:sldIdLst>
            <p14:sldId id="258"/>
            <p14:sldId id="3906"/>
            <p14:sldId id="3899"/>
            <p14:sldId id="3911"/>
            <p14:sldId id="3900"/>
            <p14:sldId id="3904"/>
            <p14:sldId id="3902"/>
            <p14:sldId id="3909"/>
            <p14:sldId id="25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x Swartz, Colleen (EHS)" initials="FSC(" lastIdx="18" clrIdx="0">
    <p:extLst>
      <p:ext uri="{19B8F6BF-5375-455C-9EA6-DF929625EA0E}">
        <p15:presenceInfo xmlns:p15="http://schemas.microsoft.com/office/powerpoint/2012/main" userId="S::Colleen.FoxSwartz@mass.gov::31bb7c4b-123a-4518-b9c1-628c7952b4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4C3E"/>
    <a:srgbClr val="F7A59E"/>
    <a:srgbClr val="B2B2B2"/>
    <a:srgbClr val="95CB89"/>
    <a:srgbClr val="2C973E"/>
    <a:srgbClr val="C0C0C0"/>
    <a:srgbClr val="91B0FF"/>
    <a:srgbClr val="083669"/>
    <a:srgbClr val="C7E0FB"/>
    <a:srgbClr val="223B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712" autoAdjust="0"/>
  </p:normalViewPr>
  <p:slideViewPr>
    <p:cSldViewPr>
      <p:cViewPr varScale="1">
        <p:scale>
          <a:sx n="86" d="100"/>
          <a:sy n="86" d="100"/>
        </p:scale>
        <p:origin x="1476" y="9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0456"/>
    </p:cViewPr>
  </p:sorterViewPr>
  <p:notesViewPr>
    <p:cSldViewPr>
      <p:cViewPr varScale="1">
        <p:scale>
          <a:sx n="87" d="100"/>
          <a:sy n="87" d="100"/>
        </p:scale>
        <p:origin x="3840" y="6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atta Edi-Osagie" userId="aa471e2e61eca0be" providerId="LiveId" clId="{B2ECBDCC-3F79-4155-9B0A-020ABBCA827B}"/>
    <pc:docChg chg="modSld">
      <pc:chgData name="Miatta Edi-Osagie" userId="aa471e2e61eca0be" providerId="LiveId" clId="{B2ECBDCC-3F79-4155-9B0A-020ABBCA827B}" dt="2021-04-14T16:49:52.332" v="1" actId="14100"/>
      <pc:docMkLst>
        <pc:docMk/>
      </pc:docMkLst>
      <pc:sldChg chg="modSp mod">
        <pc:chgData name="Miatta Edi-Osagie" userId="aa471e2e61eca0be" providerId="LiveId" clId="{B2ECBDCC-3F79-4155-9B0A-020ABBCA827B}" dt="2021-04-14T16:49:52.332" v="1" actId="14100"/>
        <pc:sldMkLst>
          <pc:docMk/>
          <pc:sldMk cId="2595467212" sldId="3900"/>
        </pc:sldMkLst>
        <pc:spChg chg="mod">
          <ac:chgData name="Miatta Edi-Osagie" userId="aa471e2e61eca0be" providerId="LiveId" clId="{B2ECBDCC-3F79-4155-9B0A-020ABBCA827B}" dt="2021-04-14T16:49:52.332" v="1" actId="14100"/>
          <ac:spMkLst>
            <pc:docMk/>
            <pc:sldMk cId="2595467212" sldId="3900"/>
            <ac:spMk id="8" creationId="{1CEAAAEA-4F0D-447E-8751-C6D00808FB96}"/>
          </ac:spMkLst>
        </pc:spChg>
        <pc:spChg chg="mod">
          <ac:chgData name="Miatta Edi-Osagie" userId="aa471e2e61eca0be" providerId="LiveId" clId="{B2ECBDCC-3F79-4155-9B0A-020ABBCA827B}" dt="2021-04-14T16:49:49.570" v="0" actId="14100"/>
          <ac:spMkLst>
            <pc:docMk/>
            <pc:sldMk cId="2595467212" sldId="3900"/>
            <ac:spMk id="10" creationId="{EACA351E-BEA1-47B4-BB76-44E78914C304}"/>
          </ac:spMkLst>
        </pc:spChg>
      </pc:sldChg>
    </pc:docChg>
  </pc:docChgLst>
  <pc:docChgLst>
    <pc:chgData name="Fox Swartz, Colleen (EHS)" userId="S::colleen.foxswartz@mass.gov::31bb7c4b-123a-4518-b9c1-628c7952b441" providerId="AD" clId="Web-{372E4BC1-7AA2-4F5A-B781-B967EEDBD5BC}"/>
    <pc:docChg chg="addSld delSld modSld sldOrd modSection">
      <pc:chgData name="Fox Swartz, Colleen (EHS)" userId="S::colleen.foxswartz@mass.gov::31bb7c4b-123a-4518-b9c1-628c7952b441" providerId="AD" clId="Web-{372E4BC1-7AA2-4F5A-B781-B967EEDBD5BC}" dt="2021-04-14T17:31:51.687" v="611"/>
      <pc:docMkLst>
        <pc:docMk/>
      </pc:docMkLst>
      <pc:sldChg chg="addCm">
        <pc:chgData name="Fox Swartz, Colleen (EHS)" userId="S::colleen.foxswartz@mass.gov::31bb7c4b-123a-4518-b9c1-628c7952b441" providerId="AD" clId="Web-{372E4BC1-7AA2-4F5A-B781-B967EEDBD5BC}" dt="2021-04-14T17:01:23.452" v="0"/>
        <pc:sldMkLst>
          <pc:docMk/>
          <pc:sldMk cId="596861214" sldId="258"/>
        </pc:sldMkLst>
      </pc:sldChg>
      <pc:sldChg chg="delSp modSp ord">
        <pc:chgData name="Fox Swartz, Colleen (EHS)" userId="S::colleen.foxswartz@mass.gov::31bb7c4b-123a-4518-b9c1-628c7952b441" providerId="AD" clId="Web-{372E4BC1-7AA2-4F5A-B781-B967EEDBD5BC}" dt="2021-04-14T17:26:37.056" v="604" actId="20577"/>
        <pc:sldMkLst>
          <pc:docMk/>
          <pc:sldMk cId="1123871542" sldId="3899"/>
        </pc:sldMkLst>
        <pc:spChg chg="mod">
          <ac:chgData name="Fox Swartz, Colleen (EHS)" userId="S::colleen.foxswartz@mass.gov::31bb7c4b-123a-4518-b9c1-628c7952b441" providerId="AD" clId="Web-{372E4BC1-7AA2-4F5A-B781-B967EEDBD5BC}" dt="2021-04-14T17:26:37.056" v="604" actId="20577"/>
          <ac:spMkLst>
            <pc:docMk/>
            <pc:sldMk cId="1123871542" sldId="3899"/>
            <ac:spMk id="4" creationId="{EB1D3693-44F1-4F73-8CE6-3E1E6FCE8142}"/>
          </ac:spMkLst>
        </pc:spChg>
        <pc:picChg chg="del">
          <ac:chgData name="Fox Swartz, Colleen (EHS)" userId="S::colleen.foxswartz@mass.gov::31bb7c4b-123a-4518-b9c1-628c7952b441" providerId="AD" clId="Web-{372E4BC1-7AA2-4F5A-B781-B967EEDBD5BC}" dt="2021-04-14T17:13:40.543" v="211"/>
          <ac:picMkLst>
            <pc:docMk/>
            <pc:sldMk cId="1123871542" sldId="3899"/>
            <ac:picMk id="7" creationId="{E024789D-538E-476D-8F1B-46AF7CE8B863}"/>
          </ac:picMkLst>
        </pc:picChg>
      </pc:sldChg>
      <pc:sldChg chg="modSp addCm">
        <pc:chgData name="Fox Swartz, Colleen (EHS)" userId="S::colleen.foxswartz@mass.gov::31bb7c4b-123a-4518-b9c1-628c7952b441" providerId="AD" clId="Web-{372E4BC1-7AA2-4F5A-B781-B967EEDBD5BC}" dt="2021-04-14T17:29:12.543" v="607"/>
        <pc:sldMkLst>
          <pc:docMk/>
          <pc:sldMk cId="2595467212" sldId="3900"/>
        </pc:sldMkLst>
        <pc:spChg chg="mod">
          <ac:chgData name="Fox Swartz, Colleen (EHS)" userId="S::colleen.foxswartz@mass.gov::31bb7c4b-123a-4518-b9c1-628c7952b441" providerId="AD" clId="Web-{372E4BC1-7AA2-4F5A-B781-B967EEDBD5BC}" dt="2021-04-14T17:26:53.557" v="606" actId="20577"/>
          <ac:spMkLst>
            <pc:docMk/>
            <pc:sldMk cId="2595467212" sldId="3900"/>
            <ac:spMk id="11" creationId="{8FAF46C3-1F73-4C58-BAF7-0D38E344042B}"/>
          </ac:spMkLst>
        </pc:spChg>
      </pc:sldChg>
      <pc:sldChg chg="addSp delSp addCm">
        <pc:chgData name="Fox Swartz, Colleen (EHS)" userId="S::colleen.foxswartz@mass.gov::31bb7c4b-123a-4518-b9c1-628c7952b441" providerId="AD" clId="Web-{372E4BC1-7AA2-4F5A-B781-B967EEDBD5BC}" dt="2021-04-14T17:31:51.687" v="611"/>
        <pc:sldMkLst>
          <pc:docMk/>
          <pc:sldMk cId="3108796609" sldId="3904"/>
        </pc:sldMkLst>
        <pc:spChg chg="add del">
          <ac:chgData name="Fox Swartz, Colleen (EHS)" userId="S::colleen.foxswartz@mass.gov::31bb7c4b-123a-4518-b9c1-628c7952b441" providerId="AD" clId="Web-{372E4BC1-7AA2-4F5A-B781-B967EEDBD5BC}" dt="2021-04-14T17:29:24.825" v="609"/>
          <ac:spMkLst>
            <pc:docMk/>
            <pc:sldMk cId="3108796609" sldId="3904"/>
            <ac:spMk id="2" creationId="{6DBEE9C6-DAA0-4319-A266-C27A961CF78C}"/>
          </ac:spMkLst>
        </pc:spChg>
      </pc:sldChg>
      <pc:sldChg chg="modSp ord">
        <pc:chgData name="Fox Swartz, Colleen (EHS)" userId="S::colleen.foxswartz@mass.gov::31bb7c4b-123a-4518-b9c1-628c7952b441" providerId="AD" clId="Web-{372E4BC1-7AA2-4F5A-B781-B967EEDBD5BC}" dt="2021-04-14T17:19:44.580" v="280"/>
        <pc:sldMkLst>
          <pc:docMk/>
          <pc:sldMk cId="3131988140" sldId="3911"/>
        </pc:sldMkLst>
        <pc:spChg chg="mod">
          <ac:chgData name="Fox Swartz, Colleen (EHS)" userId="S::colleen.foxswartz@mass.gov::31bb7c4b-123a-4518-b9c1-628c7952b441" providerId="AD" clId="Web-{372E4BC1-7AA2-4F5A-B781-B967EEDBD5BC}" dt="2021-04-14T17:19:22.080" v="279" actId="20577"/>
          <ac:spMkLst>
            <pc:docMk/>
            <pc:sldMk cId="3131988140" sldId="3911"/>
            <ac:spMk id="4" creationId="{EB1D3693-44F1-4F73-8CE6-3E1E6FCE8142}"/>
          </ac:spMkLst>
        </pc:spChg>
      </pc:sldChg>
      <pc:sldChg chg="add del replId">
        <pc:chgData name="Fox Swartz, Colleen (EHS)" userId="S::colleen.foxswartz@mass.gov::31bb7c4b-123a-4518-b9c1-628c7952b441" providerId="AD" clId="Web-{372E4BC1-7AA2-4F5A-B781-B967EEDBD5BC}" dt="2021-04-14T17:13:14.761" v="210"/>
        <pc:sldMkLst>
          <pc:docMk/>
          <pc:sldMk cId="3527286390" sldId="3912"/>
        </pc:sldMkLst>
      </pc:sldChg>
      <pc:sldChg chg="add del replId">
        <pc:chgData name="Fox Swartz, Colleen (EHS)" userId="S::colleen.foxswartz@mass.gov::31bb7c4b-123a-4518-b9c1-628c7952b441" providerId="AD" clId="Web-{372E4BC1-7AA2-4F5A-B781-B967EEDBD5BC}" dt="2021-04-14T17:13:06.558" v="209"/>
        <pc:sldMkLst>
          <pc:docMk/>
          <pc:sldMk cId="3196546125" sldId="3913"/>
        </pc:sldMkLst>
      </pc:sldChg>
    </pc:docChg>
  </pc:docChgLst>
  <pc:docChgLst>
    <pc:chgData name="Edi-Osagie, Miatta K. (EHS)" userId="S::miatta.k.edi-osagie@mass.gov::b324d8b3-38d1-43f0-9354-bf5c815fed56" providerId="AD" clId="Web-{92165A56-CDB6-45AF-9332-4DE065693BCE}"/>
    <pc:docChg chg="modSld">
      <pc:chgData name="Edi-Osagie, Miatta K. (EHS)" userId="S::miatta.k.edi-osagie@mass.gov::b324d8b3-38d1-43f0-9354-bf5c815fed56" providerId="AD" clId="Web-{92165A56-CDB6-45AF-9332-4DE065693BCE}" dt="2021-05-01T23:31:57.658" v="58"/>
      <pc:docMkLst>
        <pc:docMk/>
      </pc:docMkLst>
      <pc:sldChg chg="modSp delCm">
        <pc:chgData name="Edi-Osagie, Miatta K. (EHS)" userId="S::miatta.k.edi-osagie@mass.gov::b324d8b3-38d1-43f0-9354-bf5c815fed56" providerId="AD" clId="Web-{92165A56-CDB6-45AF-9332-4DE065693BCE}" dt="2021-05-01T23:29:52.070" v="46" actId="20577"/>
        <pc:sldMkLst>
          <pc:docMk/>
          <pc:sldMk cId="2537078521" sldId="257"/>
        </pc:sldMkLst>
        <pc:spChg chg="mod">
          <ac:chgData name="Edi-Osagie, Miatta K. (EHS)" userId="S::miatta.k.edi-osagie@mass.gov::b324d8b3-38d1-43f0-9354-bf5c815fed56" providerId="AD" clId="Web-{92165A56-CDB6-45AF-9332-4DE065693BCE}" dt="2021-05-01T23:29:52.070" v="46" actId="20577"/>
          <ac:spMkLst>
            <pc:docMk/>
            <pc:sldMk cId="2537078521" sldId="257"/>
            <ac:spMk id="3" creationId="{00000000-0000-0000-0000-000000000000}"/>
          </ac:spMkLst>
        </pc:spChg>
      </pc:sldChg>
      <pc:sldChg chg="modSp delCm">
        <pc:chgData name="Edi-Osagie, Miatta K. (EHS)" userId="S::miatta.k.edi-osagie@mass.gov::b324d8b3-38d1-43f0-9354-bf5c815fed56" providerId="AD" clId="Web-{92165A56-CDB6-45AF-9332-4DE065693BCE}" dt="2021-05-01T23:31:57.658" v="58"/>
        <pc:sldMkLst>
          <pc:docMk/>
          <pc:sldMk cId="596861214" sldId="258"/>
        </pc:sldMkLst>
        <pc:spChg chg="mod">
          <ac:chgData name="Edi-Osagie, Miatta K. (EHS)" userId="S::miatta.k.edi-osagie@mass.gov::b324d8b3-38d1-43f0-9354-bf5c815fed56" providerId="AD" clId="Web-{92165A56-CDB6-45AF-9332-4DE065693BCE}" dt="2021-05-01T23:31:15.514" v="57" actId="20577"/>
          <ac:spMkLst>
            <pc:docMk/>
            <pc:sldMk cId="596861214" sldId="258"/>
            <ac:spMk id="4" creationId="{EB1D3693-44F1-4F73-8CE6-3E1E6FCE8142}"/>
          </ac:spMkLst>
        </pc:spChg>
      </pc:sldChg>
      <pc:sldChg chg="modSp delCm">
        <pc:chgData name="Edi-Osagie, Miatta K. (EHS)" userId="S::miatta.k.edi-osagie@mass.gov::b324d8b3-38d1-43f0-9354-bf5c815fed56" providerId="AD" clId="Web-{92165A56-CDB6-45AF-9332-4DE065693BCE}" dt="2021-05-01T23:21:45.532" v="2"/>
        <pc:sldMkLst>
          <pc:docMk/>
          <pc:sldMk cId="2595467212" sldId="3900"/>
        </pc:sldMkLst>
        <pc:spChg chg="mod">
          <ac:chgData name="Edi-Osagie, Miatta K. (EHS)" userId="S::miatta.k.edi-osagie@mass.gov::b324d8b3-38d1-43f0-9354-bf5c815fed56" providerId="AD" clId="Web-{92165A56-CDB6-45AF-9332-4DE065693BCE}" dt="2021-05-01T23:21:36.735" v="1" actId="20577"/>
          <ac:spMkLst>
            <pc:docMk/>
            <pc:sldMk cId="2595467212" sldId="3900"/>
            <ac:spMk id="11" creationId="{8FAF46C3-1F73-4C58-BAF7-0D38E344042B}"/>
          </ac:spMkLst>
        </pc:spChg>
      </pc:sldChg>
      <pc:sldChg chg="delCm">
        <pc:chgData name="Edi-Osagie, Miatta K. (EHS)" userId="S::miatta.k.edi-osagie@mass.gov::b324d8b3-38d1-43f0-9354-bf5c815fed56" providerId="AD" clId="Web-{92165A56-CDB6-45AF-9332-4DE065693BCE}" dt="2021-05-01T23:27:14.979" v="16"/>
        <pc:sldMkLst>
          <pc:docMk/>
          <pc:sldMk cId="3390627707" sldId="3902"/>
        </pc:sldMkLst>
      </pc:sldChg>
      <pc:sldChg chg="modSp delCm">
        <pc:chgData name="Edi-Osagie, Miatta K. (EHS)" userId="S::miatta.k.edi-osagie@mass.gov::b324d8b3-38d1-43f0-9354-bf5c815fed56" providerId="AD" clId="Web-{92165A56-CDB6-45AF-9332-4DE065693BCE}" dt="2021-05-01T23:27:49.279" v="19" actId="20577"/>
        <pc:sldMkLst>
          <pc:docMk/>
          <pc:sldMk cId="3108796609" sldId="3904"/>
        </pc:sldMkLst>
        <pc:spChg chg="mod">
          <ac:chgData name="Edi-Osagie, Miatta K. (EHS)" userId="S::miatta.k.edi-osagie@mass.gov::b324d8b3-38d1-43f0-9354-bf5c815fed56" providerId="AD" clId="Web-{92165A56-CDB6-45AF-9332-4DE065693BCE}" dt="2021-05-01T23:25:11.298" v="8" actId="1076"/>
          <ac:spMkLst>
            <pc:docMk/>
            <pc:sldMk cId="3108796609" sldId="3904"/>
            <ac:spMk id="12" creationId="{B3348A7C-84F0-4912-8BCF-48A4F553FBAD}"/>
          </ac:spMkLst>
        </pc:spChg>
        <pc:spChg chg="mod">
          <ac:chgData name="Edi-Osagie, Miatta K. (EHS)" userId="S::miatta.k.edi-osagie@mass.gov::b324d8b3-38d1-43f0-9354-bf5c815fed56" providerId="AD" clId="Web-{92165A56-CDB6-45AF-9332-4DE065693BCE}" dt="2021-05-01T23:27:49.279" v="19" actId="20577"/>
          <ac:spMkLst>
            <pc:docMk/>
            <pc:sldMk cId="3108796609" sldId="3904"/>
            <ac:spMk id="13" creationId="{470A19C6-55AF-4C2F-881B-A7A54D057D0A}"/>
          </ac:spMkLst>
        </pc:spChg>
      </pc:sldChg>
      <pc:sldChg chg="modSp">
        <pc:chgData name="Edi-Osagie, Miatta K. (EHS)" userId="S::miatta.k.edi-osagie@mass.gov::b324d8b3-38d1-43f0-9354-bf5c815fed56" providerId="AD" clId="Web-{92165A56-CDB6-45AF-9332-4DE065693BCE}" dt="2021-05-01T23:29:21.880" v="42" actId="20577"/>
        <pc:sldMkLst>
          <pc:docMk/>
          <pc:sldMk cId="2470903331" sldId="3909"/>
        </pc:sldMkLst>
        <pc:spChg chg="mod">
          <ac:chgData name="Edi-Osagie, Miatta K. (EHS)" userId="S::miatta.k.edi-osagie@mass.gov::b324d8b3-38d1-43f0-9354-bf5c815fed56" providerId="AD" clId="Web-{92165A56-CDB6-45AF-9332-4DE065693BCE}" dt="2021-05-01T23:29:21.880" v="42" actId="20577"/>
          <ac:spMkLst>
            <pc:docMk/>
            <pc:sldMk cId="2470903331" sldId="3909"/>
            <ac:spMk id="9" creationId="{00000000-0000-0000-0000-000000000000}"/>
          </ac:spMkLst>
        </pc:spChg>
      </pc:sldChg>
    </pc:docChg>
  </pc:docChgLst>
  <pc:docChgLst>
    <pc:chgData name="Edi-Osagie, Miatta K. (EHS)" userId="S::miatta.k.edi-osagie@mass.gov::b324d8b3-38d1-43f0-9354-bf5c815fed56" providerId="AD" clId="Web-{7115A2F9-D68E-4634-81F7-124B9AA784B7}"/>
    <pc:docChg chg="modSld">
      <pc:chgData name="Edi-Osagie, Miatta K. (EHS)" userId="S::miatta.k.edi-osagie@mass.gov::b324d8b3-38d1-43f0-9354-bf5c815fed56" providerId="AD" clId="Web-{7115A2F9-D68E-4634-81F7-124B9AA784B7}" dt="2021-05-05T15:23:29.439" v="24" actId="20577"/>
      <pc:docMkLst>
        <pc:docMk/>
      </pc:docMkLst>
      <pc:sldChg chg="modSp">
        <pc:chgData name="Edi-Osagie, Miatta K. (EHS)" userId="S::miatta.k.edi-osagie@mass.gov::b324d8b3-38d1-43f0-9354-bf5c815fed56" providerId="AD" clId="Web-{7115A2F9-D68E-4634-81F7-124B9AA784B7}" dt="2021-05-05T15:23:29.439" v="24" actId="20577"/>
        <pc:sldMkLst>
          <pc:docMk/>
          <pc:sldMk cId="2537078521" sldId="257"/>
        </pc:sldMkLst>
        <pc:spChg chg="mod">
          <ac:chgData name="Edi-Osagie, Miatta K. (EHS)" userId="S::miatta.k.edi-osagie@mass.gov::b324d8b3-38d1-43f0-9354-bf5c815fed56" providerId="AD" clId="Web-{7115A2F9-D68E-4634-81F7-124B9AA784B7}" dt="2021-05-05T15:23:29.439" v="24" actId="20577"/>
          <ac:spMkLst>
            <pc:docMk/>
            <pc:sldMk cId="2537078521" sldId="257"/>
            <ac:spMk id="3" creationId="{00000000-0000-0000-0000-000000000000}"/>
          </ac:spMkLst>
        </pc:spChg>
      </pc:sldChg>
      <pc:sldChg chg="modSp">
        <pc:chgData name="Edi-Osagie, Miatta K. (EHS)" userId="S::miatta.k.edi-osagie@mass.gov::b324d8b3-38d1-43f0-9354-bf5c815fed56" providerId="AD" clId="Web-{7115A2F9-D68E-4634-81F7-124B9AA784B7}" dt="2021-05-05T15:15:36.158" v="13" actId="20577"/>
        <pc:sldMkLst>
          <pc:docMk/>
          <pc:sldMk cId="2470903331" sldId="3909"/>
        </pc:sldMkLst>
        <pc:spChg chg="mod">
          <ac:chgData name="Edi-Osagie, Miatta K. (EHS)" userId="S::miatta.k.edi-osagie@mass.gov::b324d8b3-38d1-43f0-9354-bf5c815fed56" providerId="AD" clId="Web-{7115A2F9-D68E-4634-81F7-124B9AA784B7}" dt="2021-05-05T15:15:36.158" v="13" actId="20577"/>
          <ac:spMkLst>
            <pc:docMk/>
            <pc:sldMk cId="2470903331" sldId="3909"/>
            <ac:spMk id="9" creationId="{00000000-0000-0000-0000-000000000000}"/>
          </ac:spMkLst>
        </pc:spChg>
      </pc:sldChg>
    </pc:docChg>
  </pc:docChgLst>
  <pc:docChgLst>
    <pc:chgData name="Edi-Osagie, Miatta K. (EHS)" userId="S::miatta.k.edi-osagie@mass.gov::b324d8b3-38d1-43f0-9354-bf5c815fed56" providerId="AD" clId="Web-{B61B0142-9E63-471B-AA0B-342B3B4CAADF}"/>
    <pc:docChg chg="modSld">
      <pc:chgData name="Edi-Osagie, Miatta K. (EHS)" userId="S::miatta.k.edi-osagie@mass.gov::b324d8b3-38d1-43f0-9354-bf5c815fed56" providerId="AD" clId="Web-{B61B0142-9E63-471B-AA0B-342B3B4CAADF}" dt="2021-04-15T16:32:09.235" v="0" actId="20577"/>
      <pc:docMkLst>
        <pc:docMk/>
      </pc:docMkLst>
      <pc:sldChg chg="modSp">
        <pc:chgData name="Edi-Osagie, Miatta K. (EHS)" userId="S::miatta.k.edi-osagie@mass.gov::b324d8b3-38d1-43f0-9354-bf5c815fed56" providerId="AD" clId="Web-{B61B0142-9E63-471B-AA0B-342B3B4CAADF}" dt="2021-04-15T16:32:09.235" v="0" actId="20577"/>
        <pc:sldMkLst>
          <pc:docMk/>
          <pc:sldMk cId="3390627707" sldId="3902"/>
        </pc:sldMkLst>
        <pc:spChg chg="mod">
          <ac:chgData name="Edi-Osagie, Miatta K. (EHS)" userId="S::miatta.k.edi-osagie@mass.gov::b324d8b3-38d1-43f0-9354-bf5c815fed56" providerId="AD" clId="Web-{B61B0142-9E63-471B-AA0B-342B3B4CAADF}" dt="2021-04-15T16:32:09.235" v="0" actId="20577"/>
          <ac:spMkLst>
            <pc:docMk/>
            <pc:sldMk cId="3390627707" sldId="3902"/>
            <ac:spMk id="11" creationId="{8FAF46C3-1F73-4C58-BAF7-0D38E344042B}"/>
          </ac:spMkLst>
        </pc:spChg>
      </pc:sldChg>
    </pc:docChg>
  </pc:docChgLst>
  <pc:docChgLst>
    <pc:chgData name="Fox Swartz, Colleen (EHS)" userId="S::colleen.foxswartz@mass.gov::31bb7c4b-123a-4518-b9c1-628c7952b441" providerId="AD" clId="Web-{BD4ECF84-2C19-47BB-BC7E-2C72A2966BC7}"/>
    <pc:docChg chg="modSld">
      <pc:chgData name="Fox Swartz, Colleen (EHS)" userId="S::colleen.foxswartz@mass.gov::31bb7c4b-123a-4518-b9c1-628c7952b441" providerId="AD" clId="Web-{BD4ECF84-2C19-47BB-BC7E-2C72A2966BC7}" dt="2021-04-14T19:42:24.991" v="356"/>
      <pc:docMkLst>
        <pc:docMk/>
      </pc:docMkLst>
      <pc:sldChg chg="modSp">
        <pc:chgData name="Fox Swartz, Colleen (EHS)" userId="S::colleen.foxswartz@mass.gov::31bb7c4b-123a-4518-b9c1-628c7952b441" providerId="AD" clId="Web-{BD4ECF84-2C19-47BB-BC7E-2C72A2966BC7}" dt="2021-04-14T18:06:19.684" v="17" actId="20577"/>
        <pc:sldMkLst>
          <pc:docMk/>
          <pc:sldMk cId="2595467212" sldId="3900"/>
        </pc:sldMkLst>
        <pc:spChg chg="mod">
          <ac:chgData name="Fox Swartz, Colleen (EHS)" userId="S::colleen.foxswartz@mass.gov::31bb7c4b-123a-4518-b9c1-628c7952b441" providerId="AD" clId="Web-{BD4ECF84-2C19-47BB-BC7E-2C72A2966BC7}" dt="2021-04-14T18:06:19.684" v="17" actId="20577"/>
          <ac:spMkLst>
            <pc:docMk/>
            <pc:sldMk cId="2595467212" sldId="3900"/>
            <ac:spMk id="8" creationId="{1CEAAAEA-4F0D-447E-8751-C6D00808FB96}"/>
          </ac:spMkLst>
        </pc:spChg>
        <pc:spChg chg="mod">
          <ac:chgData name="Fox Swartz, Colleen (EHS)" userId="S::colleen.foxswartz@mass.gov::31bb7c4b-123a-4518-b9c1-628c7952b441" providerId="AD" clId="Web-{BD4ECF84-2C19-47BB-BC7E-2C72A2966BC7}" dt="2021-04-14T18:05:54.761" v="13" actId="20577"/>
          <ac:spMkLst>
            <pc:docMk/>
            <pc:sldMk cId="2595467212" sldId="3900"/>
            <ac:spMk id="10" creationId="{EACA351E-BEA1-47B4-BB76-44E78914C304}"/>
          </ac:spMkLst>
        </pc:spChg>
        <pc:spChg chg="mod">
          <ac:chgData name="Fox Swartz, Colleen (EHS)" userId="S::colleen.foxswartz@mass.gov::31bb7c4b-123a-4518-b9c1-628c7952b441" providerId="AD" clId="Web-{BD4ECF84-2C19-47BB-BC7E-2C72A2966BC7}" dt="2021-04-14T18:04:30.478" v="5" actId="20577"/>
          <ac:spMkLst>
            <pc:docMk/>
            <pc:sldMk cId="2595467212" sldId="3900"/>
            <ac:spMk id="11" creationId="{8FAF46C3-1F73-4C58-BAF7-0D38E344042B}"/>
          </ac:spMkLst>
        </pc:spChg>
      </pc:sldChg>
      <pc:sldChg chg="addSp modSp addCm">
        <pc:chgData name="Fox Swartz, Colleen (EHS)" userId="S::colleen.foxswartz@mass.gov::31bb7c4b-123a-4518-b9c1-628c7952b441" providerId="AD" clId="Web-{BD4ECF84-2C19-47BB-BC7E-2C72A2966BC7}" dt="2021-04-14T19:42:24.991" v="356"/>
        <pc:sldMkLst>
          <pc:docMk/>
          <pc:sldMk cId="3390627707" sldId="3902"/>
        </pc:sldMkLst>
        <pc:spChg chg="add mod">
          <ac:chgData name="Fox Swartz, Colleen (EHS)" userId="S::colleen.foxswartz@mass.gov::31bb7c4b-123a-4518-b9c1-628c7952b441" providerId="AD" clId="Web-{BD4ECF84-2C19-47BB-BC7E-2C72A2966BC7}" dt="2021-04-14T19:25:23.113" v="240"/>
          <ac:spMkLst>
            <pc:docMk/>
            <pc:sldMk cId="3390627707" sldId="3902"/>
            <ac:spMk id="10" creationId="{D8498119-6356-42DF-B67B-BEC6E6488947}"/>
          </ac:spMkLst>
        </pc:spChg>
        <pc:spChg chg="mod">
          <ac:chgData name="Fox Swartz, Colleen (EHS)" userId="S::colleen.foxswartz@mass.gov::31bb7c4b-123a-4518-b9c1-628c7952b441" providerId="AD" clId="Web-{BD4ECF84-2C19-47BB-BC7E-2C72A2966BC7}" dt="2021-04-14T19:22:52.798" v="210" actId="20577"/>
          <ac:spMkLst>
            <pc:docMk/>
            <pc:sldMk cId="3390627707" sldId="3902"/>
            <ac:spMk id="11" creationId="{8FAF46C3-1F73-4C58-BAF7-0D38E344042B}"/>
          </ac:spMkLst>
        </pc:spChg>
        <pc:graphicFrameChg chg="mod modGraphic">
          <ac:chgData name="Fox Swartz, Colleen (EHS)" userId="S::colleen.foxswartz@mass.gov::31bb7c4b-123a-4518-b9c1-628c7952b441" providerId="AD" clId="Web-{BD4ECF84-2C19-47BB-BC7E-2C72A2966BC7}" dt="2021-04-14T19:42:24.991" v="356"/>
          <ac:graphicFrameMkLst>
            <pc:docMk/>
            <pc:sldMk cId="3390627707" sldId="3902"/>
            <ac:graphicFrameMk id="3" creationId="{3E023D00-1037-435D-8F4A-6A7E81BFBBB2}"/>
          </ac:graphicFrameMkLst>
        </pc:graphicFrameChg>
      </pc:sldChg>
      <pc:sldChg chg="addSp modSp">
        <pc:chgData name="Fox Swartz, Colleen (EHS)" userId="S::colleen.foxswartz@mass.gov::31bb7c4b-123a-4518-b9c1-628c7952b441" providerId="AD" clId="Web-{BD4ECF84-2C19-47BB-BC7E-2C72A2966BC7}" dt="2021-04-14T19:27:44.647" v="354" actId="20577"/>
        <pc:sldMkLst>
          <pc:docMk/>
          <pc:sldMk cId="3108796609" sldId="3904"/>
        </pc:sldMkLst>
        <pc:spChg chg="add mod">
          <ac:chgData name="Fox Swartz, Colleen (EHS)" userId="S::colleen.foxswartz@mass.gov::31bb7c4b-123a-4518-b9c1-628c7952b441" providerId="AD" clId="Web-{BD4ECF84-2C19-47BB-BC7E-2C72A2966BC7}" dt="2021-04-14T18:09:31.674" v="86" actId="20577"/>
          <ac:spMkLst>
            <pc:docMk/>
            <pc:sldMk cId="3108796609" sldId="3904"/>
            <ac:spMk id="2" creationId="{D0B98520-2D48-4422-8C7D-E2A275CCD929}"/>
          </ac:spMkLst>
        </pc:spChg>
        <pc:spChg chg="mod">
          <ac:chgData name="Fox Swartz, Colleen (EHS)" userId="S::colleen.foxswartz@mass.gov::31bb7c4b-123a-4518-b9c1-628c7952b441" providerId="AD" clId="Web-{BD4ECF84-2C19-47BB-BC7E-2C72A2966BC7}" dt="2021-04-14T18:09:48.862" v="90" actId="20577"/>
          <ac:spMkLst>
            <pc:docMk/>
            <pc:sldMk cId="3108796609" sldId="3904"/>
            <ac:spMk id="12" creationId="{B3348A7C-84F0-4912-8BCF-48A4F553FBAD}"/>
          </ac:spMkLst>
        </pc:spChg>
        <pc:spChg chg="mod">
          <ac:chgData name="Fox Swartz, Colleen (EHS)" userId="S::colleen.foxswartz@mass.gov::31bb7c4b-123a-4518-b9c1-628c7952b441" providerId="AD" clId="Web-{BD4ECF84-2C19-47BB-BC7E-2C72A2966BC7}" dt="2021-04-14T19:27:44.647" v="354" actId="20577"/>
          <ac:spMkLst>
            <pc:docMk/>
            <pc:sldMk cId="3108796609" sldId="3904"/>
            <ac:spMk id="13" creationId="{470A19C6-55AF-4C2F-881B-A7A54D057D0A}"/>
          </ac:spMkLst>
        </pc:spChg>
      </pc:sldChg>
    </pc:docChg>
  </pc:docChgLst>
  <pc:docChgLst>
    <pc:chgData name="Edi-Osagie, Miatta K. (EHS)" userId="S::miatta.k.edi-osagie@mass.gov::b324d8b3-38d1-43f0-9354-bf5c815fed56" providerId="AD" clId="Web-{92DCBD17-37B3-4EA4-827B-604889718CC3}"/>
    <pc:docChg chg="modSld">
      <pc:chgData name="Edi-Osagie, Miatta K. (EHS)" userId="S::miatta.k.edi-osagie@mass.gov::b324d8b3-38d1-43f0-9354-bf5c815fed56" providerId="AD" clId="Web-{92DCBD17-37B3-4EA4-827B-604889718CC3}" dt="2021-04-15T16:39:02.475" v="30" actId="20577"/>
      <pc:docMkLst>
        <pc:docMk/>
      </pc:docMkLst>
      <pc:sldChg chg="modSp">
        <pc:chgData name="Edi-Osagie, Miatta K. (EHS)" userId="S::miatta.k.edi-osagie@mass.gov::b324d8b3-38d1-43f0-9354-bf5c815fed56" providerId="AD" clId="Web-{92DCBD17-37B3-4EA4-827B-604889718CC3}" dt="2021-04-15T16:34:05.546" v="3" actId="20577"/>
        <pc:sldMkLst>
          <pc:docMk/>
          <pc:sldMk cId="1123871542" sldId="3899"/>
        </pc:sldMkLst>
        <pc:spChg chg="mod">
          <ac:chgData name="Edi-Osagie, Miatta K. (EHS)" userId="S::miatta.k.edi-osagie@mass.gov::b324d8b3-38d1-43f0-9354-bf5c815fed56" providerId="AD" clId="Web-{92DCBD17-37B3-4EA4-827B-604889718CC3}" dt="2021-04-15T16:34:05.546" v="3" actId="20577"/>
          <ac:spMkLst>
            <pc:docMk/>
            <pc:sldMk cId="1123871542" sldId="3899"/>
            <ac:spMk id="4" creationId="{EB1D3693-44F1-4F73-8CE6-3E1E6FCE8142}"/>
          </ac:spMkLst>
        </pc:spChg>
      </pc:sldChg>
      <pc:sldChg chg="modSp">
        <pc:chgData name="Edi-Osagie, Miatta K. (EHS)" userId="S::miatta.k.edi-osagie@mass.gov::b324d8b3-38d1-43f0-9354-bf5c815fed56" providerId="AD" clId="Web-{92DCBD17-37B3-4EA4-827B-604889718CC3}" dt="2021-04-15T16:38:17.862" v="28" actId="14100"/>
        <pc:sldMkLst>
          <pc:docMk/>
          <pc:sldMk cId="2595467212" sldId="3900"/>
        </pc:sldMkLst>
        <pc:spChg chg="mod">
          <ac:chgData name="Edi-Osagie, Miatta K. (EHS)" userId="S::miatta.k.edi-osagie@mass.gov::b324d8b3-38d1-43f0-9354-bf5c815fed56" providerId="AD" clId="Web-{92DCBD17-37B3-4EA4-827B-604889718CC3}" dt="2021-04-15T16:38:09.940" v="27" actId="14100"/>
          <ac:spMkLst>
            <pc:docMk/>
            <pc:sldMk cId="2595467212" sldId="3900"/>
            <ac:spMk id="8" creationId="{1CEAAAEA-4F0D-447E-8751-C6D00808FB96}"/>
          </ac:spMkLst>
        </pc:spChg>
        <pc:spChg chg="mod">
          <ac:chgData name="Edi-Osagie, Miatta K. (EHS)" userId="S::miatta.k.edi-osagie@mass.gov::b324d8b3-38d1-43f0-9354-bf5c815fed56" providerId="AD" clId="Web-{92DCBD17-37B3-4EA4-827B-604889718CC3}" dt="2021-04-15T16:38:17.862" v="28" actId="14100"/>
          <ac:spMkLst>
            <pc:docMk/>
            <pc:sldMk cId="2595467212" sldId="3900"/>
            <ac:spMk id="10" creationId="{EACA351E-BEA1-47B4-BB76-44E78914C304}"/>
          </ac:spMkLst>
        </pc:spChg>
        <pc:spChg chg="mod">
          <ac:chgData name="Edi-Osagie, Miatta K. (EHS)" userId="S::miatta.k.edi-osagie@mass.gov::b324d8b3-38d1-43f0-9354-bf5c815fed56" providerId="AD" clId="Web-{92DCBD17-37B3-4EA4-827B-604889718CC3}" dt="2021-04-15T16:34:23.907" v="7" actId="20577"/>
          <ac:spMkLst>
            <pc:docMk/>
            <pc:sldMk cId="2595467212" sldId="3900"/>
            <ac:spMk id="11" creationId="{8FAF46C3-1F73-4C58-BAF7-0D38E344042B}"/>
          </ac:spMkLst>
        </pc:spChg>
      </pc:sldChg>
      <pc:sldChg chg="modSp">
        <pc:chgData name="Edi-Osagie, Miatta K. (EHS)" userId="S::miatta.k.edi-osagie@mass.gov::b324d8b3-38d1-43f0-9354-bf5c815fed56" providerId="AD" clId="Web-{92DCBD17-37B3-4EA4-827B-604889718CC3}" dt="2021-04-15T16:39:02.475" v="30" actId="20577"/>
        <pc:sldMkLst>
          <pc:docMk/>
          <pc:sldMk cId="3390627707" sldId="3902"/>
        </pc:sldMkLst>
        <pc:spChg chg="mod">
          <ac:chgData name="Edi-Osagie, Miatta K. (EHS)" userId="S::miatta.k.edi-osagie@mass.gov::b324d8b3-38d1-43f0-9354-bf5c815fed56" providerId="AD" clId="Web-{92DCBD17-37B3-4EA4-827B-604889718CC3}" dt="2021-04-15T16:39:02.475" v="30" actId="20577"/>
          <ac:spMkLst>
            <pc:docMk/>
            <pc:sldMk cId="3390627707" sldId="3902"/>
            <ac:spMk id="11" creationId="{8FAF46C3-1F73-4C58-BAF7-0D38E344042B}"/>
          </ac:spMkLst>
        </pc:spChg>
      </pc:sldChg>
      <pc:sldChg chg="modSp">
        <pc:chgData name="Edi-Osagie, Miatta K. (EHS)" userId="S::miatta.k.edi-osagie@mass.gov::b324d8b3-38d1-43f0-9354-bf5c815fed56" providerId="AD" clId="Web-{92DCBD17-37B3-4EA4-827B-604889718CC3}" dt="2021-04-15T16:36:24.932" v="21" actId="14100"/>
        <pc:sldMkLst>
          <pc:docMk/>
          <pc:sldMk cId="3108796609" sldId="3904"/>
        </pc:sldMkLst>
        <pc:spChg chg="mod">
          <ac:chgData name="Edi-Osagie, Miatta K. (EHS)" userId="S::miatta.k.edi-osagie@mass.gov::b324d8b3-38d1-43f0-9354-bf5c815fed56" providerId="AD" clId="Web-{92DCBD17-37B3-4EA4-827B-604889718CC3}" dt="2021-04-15T16:35:12.363" v="13" actId="20577"/>
          <ac:spMkLst>
            <pc:docMk/>
            <pc:sldMk cId="3108796609" sldId="3904"/>
            <ac:spMk id="2" creationId="{D0B98520-2D48-4422-8C7D-E2A275CCD929}"/>
          </ac:spMkLst>
        </pc:spChg>
        <pc:spChg chg="mod">
          <ac:chgData name="Edi-Osagie, Miatta K. (EHS)" userId="S::miatta.k.edi-osagie@mass.gov::b324d8b3-38d1-43f0-9354-bf5c815fed56" providerId="AD" clId="Web-{92DCBD17-37B3-4EA4-827B-604889718CC3}" dt="2021-04-15T16:36:00.508" v="17" actId="20577"/>
          <ac:spMkLst>
            <pc:docMk/>
            <pc:sldMk cId="3108796609" sldId="3904"/>
            <ac:spMk id="12" creationId="{B3348A7C-84F0-4912-8BCF-48A4F553FBAD}"/>
          </ac:spMkLst>
        </pc:spChg>
        <pc:spChg chg="mod">
          <ac:chgData name="Edi-Osagie, Miatta K. (EHS)" userId="S::miatta.k.edi-osagie@mass.gov::b324d8b3-38d1-43f0-9354-bf5c815fed56" providerId="AD" clId="Web-{92DCBD17-37B3-4EA4-827B-604889718CC3}" dt="2021-04-15T16:36:24.932" v="21" actId="14100"/>
          <ac:spMkLst>
            <pc:docMk/>
            <pc:sldMk cId="3108796609" sldId="3904"/>
            <ac:spMk id="13" creationId="{470A19C6-55AF-4C2F-881B-A7A54D057D0A}"/>
          </ac:spMkLst>
        </pc:spChg>
      </pc:sldChg>
      <pc:sldChg chg="modSp">
        <pc:chgData name="Edi-Osagie, Miatta K. (EHS)" userId="S::miatta.k.edi-osagie@mass.gov::b324d8b3-38d1-43f0-9354-bf5c815fed56" providerId="AD" clId="Web-{92DCBD17-37B3-4EA4-827B-604889718CC3}" dt="2021-04-15T16:34:13.484" v="4" actId="20577"/>
        <pc:sldMkLst>
          <pc:docMk/>
          <pc:sldMk cId="3131988140" sldId="3911"/>
        </pc:sldMkLst>
        <pc:spChg chg="mod">
          <ac:chgData name="Edi-Osagie, Miatta K. (EHS)" userId="S::miatta.k.edi-osagie@mass.gov::b324d8b3-38d1-43f0-9354-bf5c815fed56" providerId="AD" clId="Web-{92DCBD17-37B3-4EA4-827B-604889718CC3}" dt="2021-04-15T16:34:13.484" v="4" actId="20577"/>
          <ac:spMkLst>
            <pc:docMk/>
            <pc:sldMk cId="3131988140" sldId="3911"/>
            <ac:spMk id="4" creationId="{EB1D3693-44F1-4F73-8CE6-3E1E6FCE8142}"/>
          </ac:spMkLst>
        </pc:spChg>
      </pc:sldChg>
    </pc:docChg>
  </pc:docChgLst>
  <pc:docChgLst>
    <pc:chgData name="Miatta Edi-Osagie" userId="aa471e2e61eca0be" providerId="LiveId" clId="{9186E4A2-B2F4-440D-891A-92B7EE4E15E5}"/>
    <pc:docChg chg="modSld">
      <pc:chgData name="Miatta Edi-Osagie" userId="aa471e2e61eca0be" providerId="LiveId" clId="{9186E4A2-B2F4-440D-891A-92B7EE4E15E5}" dt="2021-05-21T16:50:50.878" v="34" actId="20577"/>
      <pc:docMkLst>
        <pc:docMk/>
      </pc:docMkLst>
      <pc:sldChg chg="modSp mod">
        <pc:chgData name="Miatta Edi-Osagie" userId="aa471e2e61eca0be" providerId="LiveId" clId="{9186E4A2-B2F4-440D-891A-92B7EE4E15E5}" dt="2021-05-21T16:50:50.878" v="34" actId="20577"/>
        <pc:sldMkLst>
          <pc:docMk/>
          <pc:sldMk cId="2537078521" sldId="257"/>
        </pc:sldMkLst>
        <pc:spChg chg="mod">
          <ac:chgData name="Miatta Edi-Osagie" userId="aa471e2e61eca0be" providerId="LiveId" clId="{9186E4A2-B2F4-440D-891A-92B7EE4E15E5}" dt="2021-05-21T16:50:50.878" v="34" actId="20577"/>
          <ac:spMkLst>
            <pc:docMk/>
            <pc:sldMk cId="2537078521" sldId="257"/>
            <ac:spMk id="3" creationId="{00000000-0000-0000-0000-000000000000}"/>
          </ac:spMkLst>
        </pc:spChg>
      </pc:sldChg>
      <pc:sldChg chg="modSp mod">
        <pc:chgData name="Miatta Edi-Osagie" userId="aa471e2e61eca0be" providerId="LiveId" clId="{9186E4A2-B2F4-440D-891A-92B7EE4E15E5}" dt="2021-05-07T16:24:03.282" v="28" actId="1036"/>
        <pc:sldMkLst>
          <pc:docMk/>
          <pc:sldMk cId="2595467212" sldId="3900"/>
        </pc:sldMkLst>
        <pc:spChg chg="mod">
          <ac:chgData name="Miatta Edi-Osagie" userId="aa471e2e61eca0be" providerId="LiveId" clId="{9186E4A2-B2F4-440D-891A-92B7EE4E15E5}" dt="2021-05-07T16:24:03.282" v="28" actId="1036"/>
          <ac:spMkLst>
            <pc:docMk/>
            <pc:sldMk cId="2595467212" sldId="3900"/>
            <ac:spMk id="8" creationId="{1CEAAAEA-4F0D-447E-8751-C6D00808FB96}"/>
          </ac:spMkLst>
        </pc:spChg>
        <pc:spChg chg="mod">
          <ac:chgData name="Miatta Edi-Osagie" userId="aa471e2e61eca0be" providerId="LiveId" clId="{9186E4A2-B2F4-440D-891A-92B7EE4E15E5}" dt="2021-05-07T16:24:03.282" v="28" actId="1036"/>
          <ac:spMkLst>
            <pc:docMk/>
            <pc:sldMk cId="2595467212" sldId="3900"/>
            <ac:spMk id="10" creationId="{EACA351E-BEA1-47B4-BB76-44E78914C304}"/>
          </ac:spMkLst>
        </pc:spChg>
        <pc:spChg chg="mod">
          <ac:chgData name="Miatta Edi-Osagie" userId="aa471e2e61eca0be" providerId="LiveId" clId="{9186E4A2-B2F4-440D-891A-92B7EE4E15E5}" dt="2021-05-07T16:24:03.282" v="28" actId="1036"/>
          <ac:spMkLst>
            <pc:docMk/>
            <pc:sldMk cId="2595467212" sldId="3900"/>
            <ac:spMk id="543748" creationId="{93C09F4B-6D27-4DA9-A8A8-DE7F9A965671}"/>
          </ac:spMkLst>
        </pc:spChg>
        <pc:spChg chg="mod">
          <ac:chgData name="Miatta Edi-Osagie" userId="aa471e2e61eca0be" providerId="LiveId" clId="{9186E4A2-B2F4-440D-891A-92B7EE4E15E5}" dt="2021-05-07T16:24:03.282" v="28" actId="1036"/>
          <ac:spMkLst>
            <pc:docMk/>
            <pc:sldMk cId="2595467212" sldId="3900"/>
            <ac:spMk id="543749" creationId="{83561FE3-3A4B-4048-A79A-1C21C1F81DAB}"/>
          </ac:spMkLst>
        </pc:spChg>
      </pc:sldChg>
      <pc:sldChg chg="modSp mod">
        <pc:chgData name="Miatta Edi-Osagie" userId="aa471e2e61eca0be" providerId="LiveId" clId="{9186E4A2-B2F4-440D-891A-92B7EE4E15E5}" dt="2021-05-07T15:00:05.414" v="23" actId="1038"/>
        <pc:sldMkLst>
          <pc:docMk/>
          <pc:sldMk cId="3108796609" sldId="3904"/>
        </pc:sldMkLst>
        <pc:spChg chg="mod">
          <ac:chgData name="Miatta Edi-Osagie" userId="aa471e2e61eca0be" providerId="LiveId" clId="{9186E4A2-B2F4-440D-891A-92B7EE4E15E5}" dt="2021-05-07T15:00:05.414" v="23" actId="1038"/>
          <ac:spMkLst>
            <pc:docMk/>
            <pc:sldMk cId="3108796609" sldId="3904"/>
            <ac:spMk id="13" creationId="{470A19C6-55AF-4C2F-881B-A7A54D057D0A}"/>
          </ac:spMkLst>
        </pc:spChg>
      </pc:sldChg>
      <pc:sldChg chg="modSp mod">
        <pc:chgData name="Miatta Edi-Osagie" userId="aa471e2e61eca0be" providerId="LiveId" clId="{9186E4A2-B2F4-440D-891A-92B7EE4E15E5}" dt="2021-05-07T14:59:42.228" v="22" actId="13926"/>
        <pc:sldMkLst>
          <pc:docMk/>
          <pc:sldMk cId="2470903331" sldId="3909"/>
        </pc:sldMkLst>
        <pc:spChg chg="mod">
          <ac:chgData name="Miatta Edi-Osagie" userId="aa471e2e61eca0be" providerId="LiveId" clId="{9186E4A2-B2F4-440D-891A-92B7EE4E15E5}" dt="2021-05-07T14:59:42.228" v="22" actId="13926"/>
          <ac:spMkLst>
            <pc:docMk/>
            <pc:sldMk cId="2470903331" sldId="3909"/>
            <ac:spMk id="9" creationId="{00000000-0000-0000-0000-000000000000}"/>
          </ac:spMkLst>
        </pc:spChg>
      </pc:sldChg>
      <pc:sldChg chg="modSp mod">
        <pc:chgData name="Miatta Edi-Osagie" userId="aa471e2e61eca0be" providerId="LiveId" clId="{9186E4A2-B2F4-440D-891A-92B7EE4E15E5}" dt="2021-05-07T14:49:42.417" v="11" actId="20577"/>
        <pc:sldMkLst>
          <pc:docMk/>
          <pc:sldMk cId="3131988140" sldId="3911"/>
        </pc:sldMkLst>
        <pc:spChg chg="mod">
          <ac:chgData name="Miatta Edi-Osagie" userId="aa471e2e61eca0be" providerId="LiveId" clId="{9186E4A2-B2F4-440D-891A-92B7EE4E15E5}" dt="2021-05-07T14:49:42.417" v="11" actId="20577"/>
          <ac:spMkLst>
            <pc:docMk/>
            <pc:sldMk cId="3131988140" sldId="3911"/>
            <ac:spMk id="4" creationId="{EB1D3693-44F1-4F73-8CE6-3E1E6FCE8142}"/>
          </ac:spMkLst>
        </pc:spChg>
      </pc:sldChg>
    </pc:docChg>
  </pc:docChgLst>
  <pc:docChgLst>
    <pc:chgData name="Fox Swartz, Colleen (EHS)" userId="31bb7c4b-123a-4518-b9c1-628c7952b441" providerId="ADAL" clId="{5C5CFB92-9E63-4610-B5AA-470BE5DD5007}"/>
    <pc:docChg chg="custSel modSld">
      <pc:chgData name="Fox Swartz, Colleen (EHS)" userId="31bb7c4b-123a-4518-b9c1-628c7952b441" providerId="ADAL" clId="{5C5CFB92-9E63-4610-B5AA-470BE5DD5007}" dt="2021-04-14T19:54:04.623" v="109" actId="1036"/>
      <pc:docMkLst>
        <pc:docMk/>
      </pc:docMkLst>
      <pc:sldChg chg="addSp delSp modSp addCm delCm modCm">
        <pc:chgData name="Fox Swartz, Colleen (EHS)" userId="31bb7c4b-123a-4518-b9c1-628c7952b441" providerId="ADAL" clId="{5C5CFB92-9E63-4610-B5AA-470BE5DD5007}" dt="2021-04-14T19:54:04.623" v="109" actId="1036"/>
        <pc:sldMkLst>
          <pc:docMk/>
          <pc:sldMk cId="3390627707" sldId="3902"/>
        </pc:sldMkLst>
        <pc:spChg chg="del">
          <ac:chgData name="Fox Swartz, Colleen (EHS)" userId="31bb7c4b-123a-4518-b9c1-628c7952b441" providerId="ADAL" clId="{5C5CFB92-9E63-4610-B5AA-470BE5DD5007}" dt="2021-04-14T19:52:22.683" v="97" actId="478"/>
          <ac:spMkLst>
            <pc:docMk/>
            <pc:sldMk cId="3390627707" sldId="3902"/>
            <ac:spMk id="4" creationId="{0ABB8107-27DB-4DBF-B221-5C46FD238567}"/>
          </ac:spMkLst>
        </pc:spChg>
        <pc:spChg chg="del">
          <ac:chgData name="Fox Swartz, Colleen (EHS)" userId="31bb7c4b-123a-4518-b9c1-628c7952b441" providerId="ADAL" clId="{5C5CFB92-9E63-4610-B5AA-470BE5DD5007}" dt="2021-04-14T19:52:36.492" v="98" actId="478"/>
          <ac:spMkLst>
            <pc:docMk/>
            <pc:sldMk cId="3390627707" sldId="3902"/>
            <ac:spMk id="5" creationId="{F3D61A50-2524-4440-AE0A-7E14EDAB14D8}"/>
          </ac:spMkLst>
        </pc:spChg>
        <pc:spChg chg="mod">
          <ac:chgData name="Fox Swartz, Colleen (EHS)" userId="31bb7c4b-123a-4518-b9c1-628c7952b441" providerId="ADAL" clId="{5C5CFB92-9E63-4610-B5AA-470BE5DD5007}" dt="2021-04-14T19:53:21.622" v="104" actId="1076"/>
          <ac:spMkLst>
            <pc:docMk/>
            <pc:sldMk cId="3390627707" sldId="3902"/>
            <ac:spMk id="10" creationId="{D8498119-6356-42DF-B67B-BEC6E6488947}"/>
          </ac:spMkLst>
        </pc:spChg>
        <pc:spChg chg="mod">
          <ac:chgData name="Fox Swartz, Colleen (EHS)" userId="31bb7c4b-123a-4518-b9c1-628c7952b441" providerId="ADAL" clId="{5C5CFB92-9E63-4610-B5AA-470BE5DD5007}" dt="2021-04-14T19:54:04.623" v="109" actId="1036"/>
          <ac:spMkLst>
            <pc:docMk/>
            <pc:sldMk cId="3390627707" sldId="3902"/>
            <ac:spMk id="15" creationId="{632EF240-30A1-43E1-BA03-F5B9FAD32FCD}"/>
          </ac:spMkLst>
        </pc:spChg>
        <pc:spChg chg="add mod">
          <ac:chgData name="Fox Swartz, Colleen (EHS)" userId="31bb7c4b-123a-4518-b9c1-628c7952b441" providerId="ADAL" clId="{5C5CFB92-9E63-4610-B5AA-470BE5DD5007}" dt="2021-04-14T19:53:34.682" v="105" actId="403"/>
          <ac:spMkLst>
            <pc:docMk/>
            <pc:sldMk cId="3390627707" sldId="3902"/>
            <ac:spMk id="17" creationId="{A5081988-B47B-4C84-B4CA-DF7BF5DA3AB3}"/>
          </ac:spMkLst>
        </pc:spChg>
        <pc:spChg chg="del">
          <ac:chgData name="Fox Swartz, Colleen (EHS)" userId="31bb7c4b-123a-4518-b9c1-628c7952b441" providerId="ADAL" clId="{5C5CFB92-9E63-4610-B5AA-470BE5DD5007}" dt="2021-04-14T19:52:13.323" v="94" actId="478"/>
          <ac:spMkLst>
            <pc:docMk/>
            <pc:sldMk cId="3390627707" sldId="3902"/>
            <ac:spMk id="18" creationId="{25D4A8DD-8A87-488D-9C16-4396FC75DEB4}"/>
          </ac:spMkLst>
        </pc:spChg>
        <pc:spChg chg="del mod">
          <ac:chgData name="Fox Swartz, Colleen (EHS)" userId="31bb7c4b-123a-4518-b9c1-628c7952b441" providerId="ADAL" clId="{5C5CFB92-9E63-4610-B5AA-470BE5DD5007}" dt="2021-04-14T19:52:19.121" v="96" actId="478"/>
          <ac:spMkLst>
            <pc:docMk/>
            <pc:sldMk cId="3390627707" sldId="3902"/>
            <ac:spMk id="20" creationId="{4F048533-3998-4F9F-AF68-A2F4210B816F}"/>
          </ac:spMkLst>
        </pc:spChg>
        <pc:spChg chg="mod">
          <ac:chgData name="Fox Swartz, Colleen (EHS)" userId="31bb7c4b-123a-4518-b9c1-628c7952b441" providerId="ADAL" clId="{5C5CFB92-9E63-4610-B5AA-470BE5DD5007}" dt="2021-04-14T19:53:49.655" v="108" actId="14100"/>
          <ac:spMkLst>
            <pc:docMk/>
            <pc:sldMk cId="3390627707" sldId="3902"/>
            <ac:spMk id="22" creationId="{1B8A0B51-4674-40F1-B01D-075DF9F3F91A}"/>
          </ac:spMkLst>
        </pc:spChg>
        <pc:graphicFrameChg chg="mod">
          <ac:chgData name="Fox Swartz, Colleen (EHS)" userId="31bb7c4b-123a-4518-b9c1-628c7952b441" providerId="ADAL" clId="{5C5CFB92-9E63-4610-B5AA-470BE5DD5007}" dt="2021-04-14T19:49:47.936" v="57" actId="14100"/>
          <ac:graphicFrameMkLst>
            <pc:docMk/>
            <pc:sldMk cId="3390627707" sldId="3902"/>
            <ac:graphicFrameMk id="3" creationId="{3E023D00-1037-435D-8F4A-6A7E81BFBBB2}"/>
          </ac:graphicFrameMkLst>
        </pc:graphicFrameChg>
        <pc:cxnChg chg="mod">
          <ac:chgData name="Fox Swartz, Colleen (EHS)" userId="31bb7c4b-123a-4518-b9c1-628c7952b441" providerId="ADAL" clId="{5C5CFB92-9E63-4610-B5AA-470BE5DD5007}" dt="2021-04-14T19:51:05.318" v="72" actId="1076"/>
          <ac:cxnSpMkLst>
            <pc:docMk/>
            <pc:sldMk cId="3390627707" sldId="3902"/>
            <ac:cxnSpMk id="7" creationId="{BFFCA4E1-06C1-492B-8004-7BAE06AACCAF}"/>
          </ac:cxnSpMkLst>
        </pc:cxnChg>
        <pc:cxnChg chg="add mod">
          <ac:chgData name="Fox Swartz, Colleen (EHS)" userId="31bb7c4b-123a-4518-b9c1-628c7952b441" providerId="ADAL" clId="{5C5CFB92-9E63-4610-B5AA-470BE5DD5007}" dt="2021-04-14T19:51:22.543" v="74" actId="1076"/>
          <ac:cxnSpMkLst>
            <pc:docMk/>
            <pc:sldMk cId="3390627707" sldId="3902"/>
            <ac:cxnSpMk id="16" creationId="{2C29A8DA-CA52-4B91-B5E4-0ADACE1F319B}"/>
          </ac:cxnSpMkLst>
        </pc:cxnChg>
        <pc:cxnChg chg="mod">
          <ac:chgData name="Fox Swartz, Colleen (EHS)" userId="31bb7c4b-123a-4518-b9c1-628c7952b441" providerId="ADAL" clId="{5C5CFB92-9E63-4610-B5AA-470BE5DD5007}" dt="2021-04-14T19:52:52.497" v="100" actId="1037"/>
          <ac:cxnSpMkLst>
            <pc:docMk/>
            <pc:sldMk cId="3390627707" sldId="3902"/>
            <ac:cxnSpMk id="21" creationId="{0F8065E3-3A27-4935-B814-1EE10D1E52E1}"/>
          </ac:cxnSpMkLst>
        </pc:cxnChg>
      </pc:sldChg>
    </pc:docChg>
  </pc:docChgLst>
  <pc:docChgLst>
    <pc:chgData name="Fox Swartz, Colleen (EHS)" userId="S::colleen.foxswartz@mass.gov::31bb7c4b-123a-4518-b9c1-628c7952b441" providerId="AD" clId="Web-{CEE2A956-1F5E-4D5C-BA57-EDB1E9E06BB7}"/>
    <pc:docChg chg="">
      <pc:chgData name="Fox Swartz, Colleen (EHS)" userId="S::colleen.foxswartz@mass.gov::31bb7c4b-123a-4518-b9c1-628c7952b441" providerId="AD" clId="Web-{CEE2A956-1F5E-4D5C-BA57-EDB1E9E06BB7}" dt="2021-04-14T19:56:47.517" v="1"/>
      <pc:docMkLst>
        <pc:docMk/>
      </pc:docMkLst>
      <pc:sldChg chg="addCm delCm">
        <pc:chgData name="Fox Swartz, Colleen (EHS)" userId="S::colleen.foxswartz@mass.gov::31bb7c4b-123a-4518-b9c1-628c7952b441" providerId="AD" clId="Web-{CEE2A956-1F5E-4D5C-BA57-EDB1E9E06BB7}" dt="2021-04-14T19:56:47.517" v="1"/>
        <pc:sldMkLst>
          <pc:docMk/>
          <pc:sldMk cId="3390627707" sldId="3902"/>
        </pc:sldMkLst>
      </pc:sldChg>
    </pc:docChg>
  </pc:docChgLst>
  <pc:docChgLst>
    <pc:chgData name="Fox Swartz, Colleen (EHS)" userId="S::colleen.foxswartz@mass.gov::31bb7c4b-123a-4518-b9c1-628c7952b441" providerId="AD" clId="Web-{9EC1909F-6B86-498A-AFDC-333B78753A4B}"/>
    <pc:docChg chg="modSld">
      <pc:chgData name="Fox Swartz, Colleen (EHS)" userId="S::colleen.foxswartz@mass.gov::31bb7c4b-123a-4518-b9c1-628c7952b441" providerId="AD" clId="Web-{9EC1909F-6B86-498A-AFDC-333B78753A4B}" dt="2021-05-03T01:17:45.020" v="17" actId="20577"/>
      <pc:docMkLst>
        <pc:docMk/>
      </pc:docMkLst>
      <pc:sldChg chg="modSp">
        <pc:chgData name="Fox Swartz, Colleen (EHS)" userId="S::colleen.foxswartz@mass.gov::31bb7c4b-123a-4518-b9c1-628c7952b441" providerId="AD" clId="Web-{9EC1909F-6B86-498A-AFDC-333B78753A4B}" dt="2021-05-03T01:12:51.107" v="1" actId="20577"/>
        <pc:sldMkLst>
          <pc:docMk/>
          <pc:sldMk cId="2537078521" sldId="257"/>
        </pc:sldMkLst>
        <pc:spChg chg="mod">
          <ac:chgData name="Fox Swartz, Colleen (EHS)" userId="S::colleen.foxswartz@mass.gov::31bb7c4b-123a-4518-b9c1-628c7952b441" providerId="AD" clId="Web-{9EC1909F-6B86-498A-AFDC-333B78753A4B}" dt="2021-05-03T01:12:51.107" v="1" actId="20577"/>
          <ac:spMkLst>
            <pc:docMk/>
            <pc:sldMk cId="2537078521" sldId="257"/>
            <ac:spMk id="2" creationId="{00000000-0000-0000-0000-000000000000}"/>
          </ac:spMkLst>
        </pc:spChg>
      </pc:sldChg>
      <pc:sldChg chg="modSp">
        <pc:chgData name="Fox Swartz, Colleen (EHS)" userId="S::colleen.foxswartz@mass.gov::31bb7c4b-123a-4518-b9c1-628c7952b441" providerId="AD" clId="Web-{9EC1909F-6B86-498A-AFDC-333B78753A4B}" dt="2021-05-03T01:15:22.618" v="10" actId="20577"/>
        <pc:sldMkLst>
          <pc:docMk/>
          <pc:sldMk cId="2595467212" sldId="3900"/>
        </pc:sldMkLst>
        <pc:spChg chg="mod">
          <ac:chgData name="Fox Swartz, Colleen (EHS)" userId="S::colleen.foxswartz@mass.gov::31bb7c4b-123a-4518-b9c1-628c7952b441" providerId="AD" clId="Web-{9EC1909F-6B86-498A-AFDC-333B78753A4B}" dt="2021-05-03T01:15:22.618" v="10" actId="20577"/>
          <ac:spMkLst>
            <pc:docMk/>
            <pc:sldMk cId="2595467212" sldId="3900"/>
            <ac:spMk id="10" creationId="{EACA351E-BEA1-47B4-BB76-44E78914C304}"/>
          </ac:spMkLst>
        </pc:spChg>
        <pc:spChg chg="mod">
          <ac:chgData name="Fox Swartz, Colleen (EHS)" userId="S::colleen.foxswartz@mass.gov::31bb7c4b-123a-4518-b9c1-628c7952b441" providerId="AD" clId="Web-{9EC1909F-6B86-498A-AFDC-333B78753A4B}" dt="2021-05-03T01:14:32.427" v="5" actId="20577"/>
          <ac:spMkLst>
            <pc:docMk/>
            <pc:sldMk cId="2595467212" sldId="3900"/>
            <ac:spMk id="543748" creationId="{93C09F4B-6D27-4DA9-A8A8-DE7F9A965671}"/>
          </ac:spMkLst>
        </pc:spChg>
      </pc:sldChg>
      <pc:sldChg chg="modSp">
        <pc:chgData name="Fox Swartz, Colleen (EHS)" userId="S::colleen.foxswartz@mass.gov::31bb7c4b-123a-4518-b9c1-628c7952b441" providerId="AD" clId="Web-{9EC1909F-6B86-498A-AFDC-333B78753A4B}" dt="2021-05-03T01:16:28.405" v="14" actId="20577"/>
        <pc:sldMkLst>
          <pc:docMk/>
          <pc:sldMk cId="3390627707" sldId="3902"/>
        </pc:sldMkLst>
        <pc:spChg chg="mod">
          <ac:chgData name="Fox Swartz, Colleen (EHS)" userId="S::colleen.foxswartz@mass.gov::31bb7c4b-123a-4518-b9c1-628c7952b441" providerId="AD" clId="Web-{9EC1909F-6B86-498A-AFDC-333B78753A4B}" dt="2021-05-03T01:16:28.405" v="14" actId="20577"/>
          <ac:spMkLst>
            <pc:docMk/>
            <pc:sldMk cId="3390627707" sldId="3902"/>
            <ac:spMk id="11" creationId="{8FAF46C3-1F73-4C58-BAF7-0D38E344042B}"/>
          </ac:spMkLst>
        </pc:spChg>
      </pc:sldChg>
      <pc:sldChg chg="modSp">
        <pc:chgData name="Fox Swartz, Colleen (EHS)" userId="S::colleen.foxswartz@mass.gov::31bb7c4b-123a-4518-b9c1-628c7952b441" providerId="AD" clId="Web-{9EC1909F-6B86-498A-AFDC-333B78753A4B}" dt="2021-05-03T01:17:45.020" v="17" actId="20577"/>
        <pc:sldMkLst>
          <pc:docMk/>
          <pc:sldMk cId="2470903331" sldId="3909"/>
        </pc:sldMkLst>
        <pc:spChg chg="mod">
          <ac:chgData name="Fox Swartz, Colleen (EHS)" userId="S::colleen.foxswartz@mass.gov::31bb7c4b-123a-4518-b9c1-628c7952b441" providerId="AD" clId="Web-{9EC1909F-6B86-498A-AFDC-333B78753A4B}" dt="2021-05-03T01:17:45.020" v="17" actId="20577"/>
          <ac:spMkLst>
            <pc:docMk/>
            <pc:sldMk cId="2470903331" sldId="3909"/>
            <ac:spMk id="9"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BF0583-BC36-4664-A0B7-4D2468CA288A}"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US"/>
        </a:p>
      </dgm:t>
    </dgm:pt>
    <dgm:pt modelId="{2E4F0035-559A-42B8-A29C-61FCB7AFE062}">
      <dgm:prSet phldrT="[Text]" custT="1"/>
      <dgm:spPr/>
      <dgm:t>
        <a:bodyPr/>
        <a:lstStyle/>
        <a:p>
          <a:r>
            <a:rPr lang="en-US" sz="2000" b="0" dirty="0">
              <a:solidFill>
                <a:schemeClr val="tx1"/>
              </a:solidFill>
            </a:rPr>
            <a:t>August 2021</a:t>
          </a:r>
        </a:p>
      </dgm:t>
    </dgm:pt>
    <dgm:pt modelId="{D6D3A366-22D9-4E76-B990-28B5482F4B00}" type="parTrans" cxnId="{685FB2B0-6F13-4D4D-8FF1-1BCD0C1D5B51}">
      <dgm:prSet/>
      <dgm:spPr/>
      <dgm:t>
        <a:bodyPr/>
        <a:lstStyle/>
        <a:p>
          <a:endParaRPr lang="en-US">
            <a:solidFill>
              <a:schemeClr val="tx1"/>
            </a:solidFill>
          </a:endParaRPr>
        </a:p>
      </dgm:t>
    </dgm:pt>
    <dgm:pt modelId="{57C5F445-5085-4288-8CE7-E7A27C0B4D1C}" type="sibTrans" cxnId="{685FB2B0-6F13-4D4D-8FF1-1BCD0C1D5B51}">
      <dgm:prSet/>
      <dgm:spPr/>
      <dgm:t>
        <a:bodyPr/>
        <a:lstStyle/>
        <a:p>
          <a:endParaRPr lang="en-US">
            <a:solidFill>
              <a:schemeClr val="tx1"/>
            </a:solidFill>
          </a:endParaRPr>
        </a:p>
      </dgm:t>
    </dgm:pt>
    <dgm:pt modelId="{0BF1DE08-8AA4-4BAF-B67D-F128CA5AD458}">
      <dgm:prSet custT="1"/>
      <dgm:spPr/>
      <dgm:t>
        <a:bodyPr/>
        <a:lstStyle/>
        <a:p>
          <a:r>
            <a:rPr lang="en-US" sz="2000" b="0" dirty="0">
              <a:solidFill>
                <a:schemeClr val="tx1"/>
              </a:solidFill>
            </a:rPr>
            <a:t>September 2021</a:t>
          </a:r>
        </a:p>
      </dgm:t>
    </dgm:pt>
    <dgm:pt modelId="{E44930BC-32D1-4685-BC38-2BEE51523ED3}" type="parTrans" cxnId="{7E45E607-E18F-47CD-8D6C-D04F31001742}">
      <dgm:prSet/>
      <dgm:spPr/>
      <dgm:t>
        <a:bodyPr/>
        <a:lstStyle/>
        <a:p>
          <a:endParaRPr lang="en-US">
            <a:solidFill>
              <a:schemeClr val="tx1"/>
            </a:solidFill>
          </a:endParaRPr>
        </a:p>
      </dgm:t>
    </dgm:pt>
    <dgm:pt modelId="{11CDA24F-E289-4636-A381-3ADCEF2C2EAB}" type="sibTrans" cxnId="{7E45E607-E18F-47CD-8D6C-D04F31001742}">
      <dgm:prSet/>
      <dgm:spPr/>
      <dgm:t>
        <a:bodyPr/>
        <a:lstStyle/>
        <a:p>
          <a:endParaRPr lang="en-US">
            <a:solidFill>
              <a:schemeClr val="tx1"/>
            </a:solidFill>
          </a:endParaRPr>
        </a:p>
      </dgm:t>
    </dgm:pt>
    <dgm:pt modelId="{2CA89193-D214-4B2E-8271-836C249AD9BB}">
      <dgm:prSet custT="1"/>
      <dgm:spPr/>
      <dgm:t>
        <a:bodyPr/>
        <a:lstStyle/>
        <a:p>
          <a:r>
            <a:rPr lang="en-US" sz="2000" dirty="0">
              <a:solidFill>
                <a:schemeClr val="tx1"/>
              </a:solidFill>
            </a:rPr>
            <a:t>July 2021</a:t>
          </a:r>
          <a:endParaRPr lang="en-US" sz="3000" dirty="0">
            <a:solidFill>
              <a:schemeClr val="tx1"/>
            </a:solidFill>
          </a:endParaRPr>
        </a:p>
      </dgm:t>
    </dgm:pt>
    <dgm:pt modelId="{4009C8FD-95D1-420C-8EFD-9B145A93BDB4}" type="parTrans" cxnId="{3E38ABFD-14AD-4D37-86FD-360825716F7A}">
      <dgm:prSet/>
      <dgm:spPr/>
      <dgm:t>
        <a:bodyPr/>
        <a:lstStyle/>
        <a:p>
          <a:endParaRPr lang="en-US"/>
        </a:p>
      </dgm:t>
    </dgm:pt>
    <dgm:pt modelId="{89304428-841C-488E-A8BA-98311BC55D02}" type="sibTrans" cxnId="{3E38ABFD-14AD-4D37-86FD-360825716F7A}">
      <dgm:prSet/>
      <dgm:spPr/>
      <dgm:t>
        <a:bodyPr/>
        <a:lstStyle/>
        <a:p>
          <a:endParaRPr lang="en-US"/>
        </a:p>
      </dgm:t>
    </dgm:pt>
    <dgm:pt modelId="{595D8A7A-F57D-4478-8FFE-D1122E3B07E2}">
      <dgm:prSet custT="1"/>
      <dgm:spPr/>
      <dgm:t>
        <a:bodyPr/>
        <a:lstStyle/>
        <a:p>
          <a:r>
            <a:rPr lang="en-US" sz="2000" dirty="0">
              <a:solidFill>
                <a:schemeClr val="tx1"/>
              </a:solidFill>
            </a:rPr>
            <a:t>June 2021</a:t>
          </a:r>
          <a:endParaRPr lang="en-US" sz="2700" dirty="0">
            <a:solidFill>
              <a:schemeClr val="tx1"/>
            </a:solidFill>
          </a:endParaRPr>
        </a:p>
      </dgm:t>
    </dgm:pt>
    <dgm:pt modelId="{FDF12157-D44E-40D9-8EB4-C979020B8A12}" type="parTrans" cxnId="{23C10644-82FD-48D5-9C7B-8094F25E25EC}">
      <dgm:prSet/>
      <dgm:spPr/>
      <dgm:t>
        <a:bodyPr/>
        <a:lstStyle/>
        <a:p>
          <a:endParaRPr lang="en-US"/>
        </a:p>
      </dgm:t>
    </dgm:pt>
    <dgm:pt modelId="{D7D36C5B-B019-45F5-BAA3-44F24CC4AD0F}" type="sibTrans" cxnId="{23C10644-82FD-48D5-9C7B-8094F25E25EC}">
      <dgm:prSet/>
      <dgm:spPr/>
      <dgm:t>
        <a:bodyPr/>
        <a:lstStyle/>
        <a:p>
          <a:endParaRPr lang="en-US"/>
        </a:p>
      </dgm:t>
    </dgm:pt>
    <dgm:pt modelId="{76D8DCFF-BAC2-46EC-B066-EC9C723CFA94}" type="pres">
      <dgm:prSet presAssocID="{3CBF0583-BC36-4664-A0B7-4D2468CA288A}" presName="Name0" presStyleCnt="0">
        <dgm:presLayoutVars>
          <dgm:dir/>
          <dgm:resizeHandles val="exact"/>
        </dgm:presLayoutVars>
      </dgm:prSet>
      <dgm:spPr/>
    </dgm:pt>
    <dgm:pt modelId="{BA34C0B4-B2F6-45FA-A7AF-70E3AEAA25EF}" type="pres">
      <dgm:prSet presAssocID="{595D8A7A-F57D-4478-8FFE-D1122E3B07E2}" presName="parTxOnly" presStyleLbl="node1" presStyleIdx="0" presStyleCnt="4" custScaleY="60505">
        <dgm:presLayoutVars>
          <dgm:bulletEnabled val="1"/>
        </dgm:presLayoutVars>
      </dgm:prSet>
      <dgm:spPr/>
    </dgm:pt>
    <dgm:pt modelId="{563C19DB-25CA-4893-89B4-7FD654A5BCE5}" type="pres">
      <dgm:prSet presAssocID="{D7D36C5B-B019-45F5-BAA3-44F24CC4AD0F}" presName="parSpace" presStyleCnt="0"/>
      <dgm:spPr/>
    </dgm:pt>
    <dgm:pt modelId="{E644B9E0-98CC-46F7-B475-0B5A7C7C493A}" type="pres">
      <dgm:prSet presAssocID="{2CA89193-D214-4B2E-8271-836C249AD9BB}" presName="parTxOnly" presStyleLbl="node1" presStyleIdx="1" presStyleCnt="4" custScaleY="60299">
        <dgm:presLayoutVars>
          <dgm:bulletEnabled val="1"/>
        </dgm:presLayoutVars>
      </dgm:prSet>
      <dgm:spPr/>
    </dgm:pt>
    <dgm:pt modelId="{201C2BF7-90A7-4613-9820-00A65689B99F}" type="pres">
      <dgm:prSet presAssocID="{89304428-841C-488E-A8BA-98311BC55D02}" presName="parSpace" presStyleCnt="0"/>
      <dgm:spPr/>
    </dgm:pt>
    <dgm:pt modelId="{CD60237D-8EEA-4D43-A726-16216D4A6908}" type="pres">
      <dgm:prSet presAssocID="{2E4F0035-559A-42B8-A29C-61FCB7AFE062}" presName="parTxOnly" presStyleLbl="node1" presStyleIdx="2" presStyleCnt="4" custScaleX="102487" custScaleY="60252" custLinFactNeighborX="-3633">
        <dgm:presLayoutVars>
          <dgm:bulletEnabled val="1"/>
        </dgm:presLayoutVars>
      </dgm:prSet>
      <dgm:spPr/>
    </dgm:pt>
    <dgm:pt modelId="{7B1F8A58-9568-41D6-AAC2-77FFCA316CBD}" type="pres">
      <dgm:prSet presAssocID="{57C5F445-5085-4288-8CE7-E7A27C0B4D1C}" presName="parSpace" presStyleCnt="0"/>
      <dgm:spPr/>
    </dgm:pt>
    <dgm:pt modelId="{DC471B73-F418-4603-A4B4-1961B6863F2A}" type="pres">
      <dgm:prSet presAssocID="{0BF1DE08-8AA4-4BAF-B67D-F128CA5AD458}" presName="parTxOnly" presStyleLbl="node1" presStyleIdx="3" presStyleCnt="4" custScaleY="58744" custLinFactNeighborX="12810" custLinFactNeighborY="145">
        <dgm:presLayoutVars>
          <dgm:bulletEnabled val="1"/>
        </dgm:presLayoutVars>
      </dgm:prSet>
      <dgm:spPr/>
    </dgm:pt>
  </dgm:ptLst>
  <dgm:cxnLst>
    <dgm:cxn modelId="{7E45E607-E18F-47CD-8D6C-D04F31001742}" srcId="{3CBF0583-BC36-4664-A0B7-4D2468CA288A}" destId="{0BF1DE08-8AA4-4BAF-B67D-F128CA5AD458}" srcOrd="3" destOrd="0" parTransId="{E44930BC-32D1-4685-BC38-2BEE51523ED3}" sibTransId="{11CDA24F-E289-4636-A381-3ADCEF2C2EAB}"/>
    <dgm:cxn modelId="{B7E58038-0E93-463B-885C-410EA6FEBE9F}" type="presOf" srcId="{595D8A7A-F57D-4478-8FFE-D1122E3B07E2}" destId="{BA34C0B4-B2F6-45FA-A7AF-70E3AEAA25EF}" srcOrd="0" destOrd="0" presId="urn:microsoft.com/office/officeart/2005/8/layout/hChevron3"/>
    <dgm:cxn modelId="{23C10644-82FD-48D5-9C7B-8094F25E25EC}" srcId="{3CBF0583-BC36-4664-A0B7-4D2468CA288A}" destId="{595D8A7A-F57D-4478-8FFE-D1122E3B07E2}" srcOrd="0" destOrd="0" parTransId="{FDF12157-D44E-40D9-8EB4-C979020B8A12}" sibTransId="{D7D36C5B-B019-45F5-BAA3-44F24CC4AD0F}"/>
    <dgm:cxn modelId="{4065766E-6772-40E2-B9D3-94502C4D0E07}" type="presOf" srcId="{3CBF0583-BC36-4664-A0B7-4D2468CA288A}" destId="{76D8DCFF-BAC2-46EC-B066-EC9C723CFA94}" srcOrd="0" destOrd="0" presId="urn:microsoft.com/office/officeart/2005/8/layout/hChevron3"/>
    <dgm:cxn modelId="{D0BA0790-6A19-428C-BAE8-6E7FA793789A}" type="presOf" srcId="{2CA89193-D214-4B2E-8271-836C249AD9BB}" destId="{E644B9E0-98CC-46F7-B475-0B5A7C7C493A}" srcOrd="0" destOrd="0" presId="urn:microsoft.com/office/officeart/2005/8/layout/hChevron3"/>
    <dgm:cxn modelId="{04E39A94-0FDC-4387-B74C-06424CF449F9}" type="presOf" srcId="{0BF1DE08-8AA4-4BAF-B67D-F128CA5AD458}" destId="{DC471B73-F418-4603-A4B4-1961B6863F2A}" srcOrd="0" destOrd="0" presId="urn:microsoft.com/office/officeart/2005/8/layout/hChevron3"/>
    <dgm:cxn modelId="{8E5DA49A-B1CB-463E-AD97-F68B9C791537}" type="presOf" srcId="{2E4F0035-559A-42B8-A29C-61FCB7AFE062}" destId="{CD60237D-8EEA-4D43-A726-16216D4A6908}" srcOrd="0" destOrd="0" presId="urn:microsoft.com/office/officeart/2005/8/layout/hChevron3"/>
    <dgm:cxn modelId="{685FB2B0-6F13-4D4D-8FF1-1BCD0C1D5B51}" srcId="{3CBF0583-BC36-4664-A0B7-4D2468CA288A}" destId="{2E4F0035-559A-42B8-A29C-61FCB7AFE062}" srcOrd="2" destOrd="0" parTransId="{D6D3A366-22D9-4E76-B990-28B5482F4B00}" sibTransId="{57C5F445-5085-4288-8CE7-E7A27C0B4D1C}"/>
    <dgm:cxn modelId="{3E38ABFD-14AD-4D37-86FD-360825716F7A}" srcId="{3CBF0583-BC36-4664-A0B7-4D2468CA288A}" destId="{2CA89193-D214-4B2E-8271-836C249AD9BB}" srcOrd="1" destOrd="0" parTransId="{4009C8FD-95D1-420C-8EFD-9B145A93BDB4}" sibTransId="{89304428-841C-488E-A8BA-98311BC55D02}"/>
    <dgm:cxn modelId="{462A35AE-2E32-4C23-BB6B-0B3E4F1D0E2F}" type="presParOf" srcId="{76D8DCFF-BAC2-46EC-B066-EC9C723CFA94}" destId="{BA34C0B4-B2F6-45FA-A7AF-70E3AEAA25EF}" srcOrd="0" destOrd="0" presId="urn:microsoft.com/office/officeart/2005/8/layout/hChevron3"/>
    <dgm:cxn modelId="{EF3AA670-7474-487D-9002-202CF266E45A}" type="presParOf" srcId="{76D8DCFF-BAC2-46EC-B066-EC9C723CFA94}" destId="{563C19DB-25CA-4893-89B4-7FD654A5BCE5}" srcOrd="1" destOrd="0" presId="urn:microsoft.com/office/officeart/2005/8/layout/hChevron3"/>
    <dgm:cxn modelId="{5524BAD3-11A5-450A-A984-02A79322AE21}" type="presParOf" srcId="{76D8DCFF-BAC2-46EC-B066-EC9C723CFA94}" destId="{E644B9E0-98CC-46F7-B475-0B5A7C7C493A}" srcOrd="2" destOrd="0" presId="urn:microsoft.com/office/officeart/2005/8/layout/hChevron3"/>
    <dgm:cxn modelId="{A2D657B9-0005-40DC-AC2E-5F25A1C042C7}" type="presParOf" srcId="{76D8DCFF-BAC2-46EC-B066-EC9C723CFA94}" destId="{201C2BF7-90A7-4613-9820-00A65689B99F}" srcOrd="3" destOrd="0" presId="urn:microsoft.com/office/officeart/2005/8/layout/hChevron3"/>
    <dgm:cxn modelId="{2CCD25C0-B91B-4A85-B233-8DF0495D634F}" type="presParOf" srcId="{76D8DCFF-BAC2-46EC-B066-EC9C723CFA94}" destId="{CD60237D-8EEA-4D43-A726-16216D4A6908}" srcOrd="4" destOrd="0" presId="urn:microsoft.com/office/officeart/2005/8/layout/hChevron3"/>
    <dgm:cxn modelId="{63FBD9AC-F149-47FA-8D76-8A4555A43A50}" type="presParOf" srcId="{76D8DCFF-BAC2-46EC-B066-EC9C723CFA94}" destId="{7B1F8A58-9568-41D6-AAC2-77FFCA316CBD}" srcOrd="5" destOrd="0" presId="urn:microsoft.com/office/officeart/2005/8/layout/hChevron3"/>
    <dgm:cxn modelId="{D0C3A383-07A9-470E-A216-CFA769C6E13D}" type="presParOf" srcId="{76D8DCFF-BAC2-46EC-B066-EC9C723CFA94}" destId="{DC471B73-F418-4603-A4B4-1961B6863F2A}" srcOrd="6"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34C0B4-B2F6-45FA-A7AF-70E3AEAA25EF}">
      <dsp:nvSpPr>
        <dsp:cNvPr id="0" name=""/>
        <dsp:cNvSpPr/>
      </dsp:nvSpPr>
      <dsp:spPr>
        <a:xfrm>
          <a:off x="6624" y="1390886"/>
          <a:ext cx="2359421" cy="571027"/>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June 2021</a:t>
          </a:r>
          <a:endParaRPr lang="en-US" sz="2700" kern="1200" dirty="0">
            <a:solidFill>
              <a:schemeClr val="tx1"/>
            </a:solidFill>
          </a:endParaRPr>
        </a:p>
      </dsp:txBody>
      <dsp:txXfrm>
        <a:off x="6624" y="1390886"/>
        <a:ext cx="2216664" cy="571027"/>
      </dsp:txXfrm>
    </dsp:sp>
    <dsp:sp modelId="{E644B9E0-98CC-46F7-B475-0B5A7C7C493A}">
      <dsp:nvSpPr>
        <dsp:cNvPr id="0" name=""/>
        <dsp:cNvSpPr/>
      </dsp:nvSpPr>
      <dsp:spPr>
        <a:xfrm>
          <a:off x="1894162" y="1391858"/>
          <a:ext cx="2359421" cy="56908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July 2021</a:t>
          </a:r>
          <a:endParaRPr lang="en-US" sz="3000" kern="1200" dirty="0">
            <a:solidFill>
              <a:schemeClr val="tx1"/>
            </a:solidFill>
          </a:endParaRPr>
        </a:p>
      </dsp:txBody>
      <dsp:txXfrm>
        <a:off x="2178704" y="1391858"/>
        <a:ext cx="1790338" cy="569083"/>
      </dsp:txXfrm>
    </dsp:sp>
    <dsp:sp modelId="{CD60237D-8EEA-4D43-A726-16216D4A6908}">
      <dsp:nvSpPr>
        <dsp:cNvPr id="0" name=""/>
        <dsp:cNvSpPr/>
      </dsp:nvSpPr>
      <dsp:spPr>
        <a:xfrm>
          <a:off x="3764556" y="1392080"/>
          <a:ext cx="2418100" cy="56863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b="0" kern="1200" dirty="0">
              <a:solidFill>
                <a:schemeClr val="tx1"/>
              </a:solidFill>
            </a:rPr>
            <a:t>August 2021</a:t>
          </a:r>
        </a:p>
      </dsp:txBody>
      <dsp:txXfrm>
        <a:off x="4048876" y="1392080"/>
        <a:ext cx="1849461" cy="568639"/>
      </dsp:txXfrm>
    </dsp:sp>
    <dsp:sp modelId="{DC471B73-F418-4603-A4B4-1961B6863F2A}">
      <dsp:nvSpPr>
        <dsp:cNvPr id="0" name=""/>
        <dsp:cNvSpPr/>
      </dsp:nvSpPr>
      <dsp:spPr>
        <a:xfrm>
          <a:off x="5734541" y="1400564"/>
          <a:ext cx="2359421" cy="554407"/>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b="0" kern="1200" dirty="0">
              <a:solidFill>
                <a:schemeClr val="tx1"/>
              </a:solidFill>
            </a:rPr>
            <a:t>September 2021</a:t>
          </a:r>
        </a:p>
      </dsp:txBody>
      <dsp:txXfrm>
        <a:off x="6011745" y="1400564"/>
        <a:ext cx="1805014" cy="554407"/>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197572F3-28B1-40B1-9814-E6DB6F441E0C}" type="datetimeFigureOut">
              <a:rPr lang="en-US" smtClean="0"/>
              <a:t>5/21/2021</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3D751ACD-0C67-4CDF-841A-B6ED40D41F91}" type="slidenum">
              <a:rPr lang="en-US" smtClean="0"/>
              <a:t>‹#›</a:t>
            </a:fld>
            <a:endParaRPr lang="en-US" dirty="0"/>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12D23D5D-05BF-458D-8494-2550901E4C33}" type="datetimeFigureOut">
              <a:rPr lang="en-US" smtClean="0"/>
              <a:t>5/21/2021</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6369890E-7CF6-4448-B58E-405862340BEB}" type="slidenum">
              <a:rPr lang="en-US" smtClean="0"/>
              <a:t>‹#›</a:t>
            </a:fld>
            <a:endParaRPr lang="en-US" dirty="0"/>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6</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872024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7</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1021638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8</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4051409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9</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20247491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dirty="0">
                <a:solidFill>
                  <a:schemeClr val="tx2"/>
                </a:solidFill>
                <a:latin typeface="Arial"/>
                <a:ea typeface="ＭＳ Ｐゴシック"/>
              </a:rPr>
              <a:t>Executive Office of Health and Human Services</a:t>
            </a:r>
          </a:p>
        </p:txBody>
      </p:sp>
      <p:sp>
        <p:nvSpPr>
          <p:cNvPr id="4" name="TextBox 3">
            <a:extLst>
              <a:ext uri="{FF2B5EF4-FFF2-40B4-BE49-F238E27FC236}">
                <a16:creationId xmlns:a16="http://schemas.microsoft.com/office/drawing/2014/main" id="{6279685E-8CBE-437A-A860-80366684243F}"/>
              </a:ext>
            </a:extLst>
          </p:cNvPr>
          <p:cNvSpPr txBox="1"/>
          <p:nvPr userDrawn="1"/>
        </p:nvSpPr>
        <p:spPr bwMode="auto">
          <a:xfrm>
            <a:off x="5166578" y="6324600"/>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75634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0"/>
            <a:ext cx="7924800" cy="1200329"/>
          </a:xfrm>
        </p:spPr>
        <p:txBody>
          <a:bodyPr wrap="square"/>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6264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a:extLst>
              <a:ext uri="{FF2B5EF4-FFF2-40B4-BE49-F238E27FC236}">
                <a16:creationId xmlns:a16="http://schemas.microsoft.com/office/drawing/2014/main" id="{19B20062-F2ED-4092-9A4F-6FFEA20CD2D2}"/>
              </a:ext>
            </a:extLst>
          </p:cNvPr>
          <p:cNvSpPr txBox="1"/>
          <p:nvPr userDrawn="1"/>
        </p:nvSpPr>
        <p:spPr bwMode="auto">
          <a:xfrm>
            <a:off x="5105400" y="6477000"/>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1775630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endParaRPr lang="en-US" dirty="0"/>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893C5E74-76C2-49BD-8A41-ABE23B960C05}"/>
              </a:ext>
            </a:extLst>
          </p:cNvPr>
          <p:cNvSpPr txBox="1"/>
          <p:nvPr userDrawn="1"/>
        </p:nvSpPr>
        <p:spPr bwMode="auto">
          <a:xfrm>
            <a:off x="5105400" y="6519474"/>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3609017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8" name="Object 7"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dirty="0">
              <a:solidFill>
                <a:srgbClr val="000000"/>
              </a:solidFill>
              <a:latin typeface="Arial"/>
            </a:endParaRP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657" r:id="rId7"/>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ixabay.com/en/clock-day-hour-measure-minute-160966/"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blog.okfn.org/2013/12/12/signing-on-to-civil-society-request-to-make-public-government-data-license-free-in-the-u-s/" TargetMode="Externa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7.emf"/><Relationship Id="rId5" Type="http://schemas.openxmlformats.org/officeDocument/2006/relationships/tags" Target="../tags/tag30.xml"/><Relationship Id="rId10" Type="http://schemas.openxmlformats.org/officeDocument/2006/relationships/oleObject" Target="../embeddings/oleObject12.bin"/><Relationship Id="rId4" Type="http://schemas.openxmlformats.org/officeDocument/2006/relationships/tags" Target="../tags/tag29.xml"/><Relationship Id="rId9"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13.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38.xml"/><Relationship Id="rId7" Type="http://schemas.openxmlformats.org/officeDocument/2006/relationships/image" Target="../media/image7.emf"/><Relationship Id="rId12" Type="http://schemas.microsoft.com/office/2007/relationships/diagramDrawing" Target="../diagrams/drawing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4.bin"/><Relationship Id="rId11" Type="http://schemas.openxmlformats.org/officeDocument/2006/relationships/diagramColors" Target="../diagrams/colors1.xml"/><Relationship Id="rId5" Type="http://schemas.openxmlformats.org/officeDocument/2006/relationships/notesSlide" Target="../notesSlides/notesSlide3.xml"/><Relationship Id="rId10" Type="http://schemas.openxmlformats.org/officeDocument/2006/relationships/diagramQuickStyle" Target="../diagrams/quickStyle1.xml"/><Relationship Id="rId4" Type="http://schemas.openxmlformats.org/officeDocument/2006/relationships/slideLayout" Target="../slideLayouts/slideLayout7.xml"/><Relationship Id="rId9"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mailto:evvfeedback@state.ma.us" TargetMode="External"/><Relationship Id="rId2"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hyperlink" Target="https://www.mass.gov/info-details/electronic-visit-verification-evv" TargetMode="External"/><Relationship Id="rId5" Type="http://schemas.openxmlformats.org/officeDocument/2006/relationships/image" Target="../media/image8.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03461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590800" y="1739443"/>
            <a:ext cx="6477000" cy="1292662"/>
          </a:xfrm>
        </p:spPr>
        <p:txBody>
          <a:bodyPr/>
          <a:lstStyle/>
          <a:p>
            <a:r>
              <a:rPr lang="en-US" dirty="0">
                <a:latin typeface="Arial"/>
                <a:cs typeface="Arial"/>
              </a:rPr>
              <a:t>Electronic Visit Verification </a:t>
            </a:r>
            <a:br>
              <a:rPr lang="en-US" dirty="0"/>
            </a:br>
            <a:r>
              <a:rPr lang="en-US" dirty="0">
                <a:latin typeface="Arial"/>
                <a:cs typeface="Arial"/>
              </a:rPr>
              <a:t>Phase II Implementation for </a:t>
            </a:r>
            <a:br>
              <a:rPr lang="en-US" dirty="0"/>
            </a:br>
            <a:r>
              <a:rPr lang="en-US" sz="2800" dirty="0">
                <a:latin typeface="Arial"/>
                <a:cs typeface="Arial"/>
              </a:rPr>
              <a:t>SCO/One Care Contracted Providers</a:t>
            </a:r>
            <a:endParaRPr lang="en-US" dirty="0">
              <a:latin typeface="Arial"/>
              <a:cs typeface="Arial"/>
            </a:endParaRPr>
          </a:p>
        </p:txBody>
      </p:sp>
      <p:sp>
        <p:nvSpPr>
          <p:cNvPr id="3" name="Subtitle 2"/>
          <p:cNvSpPr>
            <a:spLocks noGrp="1"/>
          </p:cNvSpPr>
          <p:nvPr>
            <p:ph type="subTitle" idx="1"/>
          </p:nvPr>
        </p:nvSpPr>
        <p:spPr/>
        <p:txBody>
          <a:bodyPr vert="horz" wrap="square" lIns="0" tIns="0" rIns="0" bIns="0" rtlCol="0" anchor="t">
            <a:spAutoFit/>
          </a:bodyPr>
          <a:lstStyle/>
          <a:p>
            <a:r>
              <a:rPr lang="en-US">
                <a:latin typeface="Arial"/>
                <a:cs typeface="Arial"/>
              </a:rPr>
              <a:t>May 7, </a:t>
            </a:r>
            <a:r>
              <a:rPr lang="en-US" dirty="0">
                <a:latin typeface="Arial"/>
                <a:cs typeface="Arial"/>
              </a:rPr>
              <a:t>2021</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013C4D-0280-4F3C-8E72-C728342F3D81}"/>
              </a:ext>
            </a:extLst>
          </p:cNvPr>
          <p:cNvGraphicFramePr>
            <a:graphicFrameLocks noChangeAspect="1"/>
          </p:cNvGraphicFramePr>
          <p:nvPr>
            <p:custDataLst>
              <p:tags r:id="rId1"/>
            </p:custDataLst>
            <p:extLst>
              <p:ext uri="{D42A27DB-BD31-4B8C-83A1-F6EECF244321}">
                <p14:modId xmlns:p14="http://schemas.microsoft.com/office/powerpoint/2010/main" val="323056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0013C4D-0280-4F3C-8E72-C728342F3D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85F58B-91C6-45E4-BF47-1B8E9D6735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sz="quarter" idx="12"/>
          </p:nvPr>
        </p:nvSpPr>
        <p:spPr/>
        <p:txBody>
          <a:bodyPr/>
          <a:lstStyle/>
          <a:p>
            <a:pPr algn="ctr"/>
            <a:endParaRPr lang="en-US" sz="3200" b="1" dirty="0"/>
          </a:p>
          <a:p>
            <a:pPr algn="ctr"/>
            <a:r>
              <a:rPr lang="en-US" sz="3200" b="1" dirty="0"/>
              <a:t>Question Period</a:t>
            </a:r>
          </a:p>
          <a:p>
            <a:endParaRPr lang="en-US" dirty="0"/>
          </a:p>
          <a:p>
            <a:pPr marL="457200"/>
            <a:endParaRPr lang="en-US" sz="2000" dirty="0"/>
          </a:p>
          <a:p>
            <a:pPr marL="457200"/>
            <a:r>
              <a:rPr lang="en-US" sz="2000" dirty="0"/>
              <a:t>We will address questions submitted via Chat first and then open the lines for attendees to ask questions</a:t>
            </a:r>
            <a:endParaRPr lang="en-US" dirty="0"/>
          </a:p>
        </p:txBody>
      </p:sp>
    </p:spTree>
    <p:extLst>
      <p:ext uri="{BB962C8B-B14F-4D97-AF65-F5344CB8AC3E}">
        <p14:creationId xmlns:p14="http://schemas.microsoft.com/office/powerpoint/2010/main" val="1436787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extLst>
              <p:ext uri="{D42A27DB-BD31-4B8C-83A1-F6EECF244321}">
                <p14:modId xmlns:p14="http://schemas.microsoft.com/office/powerpoint/2010/main" val="223792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914400"/>
            <a:ext cx="4741164" cy="3785652"/>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9870" lvl="1" indent="-229870">
              <a:spcAft>
                <a:spcPts val="1200"/>
              </a:spcAft>
            </a:pPr>
            <a:r>
              <a:rPr lang="en-US" sz="1800" dirty="0"/>
              <a:t>High Level Overview of EVV</a:t>
            </a:r>
            <a:endParaRPr lang="en-US"/>
          </a:p>
          <a:p>
            <a:pPr marL="229870" lvl="1" indent="-229870">
              <a:spcAft>
                <a:spcPts val="1200"/>
              </a:spcAft>
            </a:pPr>
            <a:r>
              <a:rPr lang="en-US" sz="1800" dirty="0"/>
              <a:t>Options for EVV Compliance</a:t>
            </a:r>
          </a:p>
          <a:p>
            <a:pPr marL="229870" lvl="1" indent="-229870">
              <a:spcAft>
                <a:spcPts val="1200"/>
              </a:spcAft>
            </a:pPr>
            <a:r>
              <a:rPr lang="en-US" sz="1800" dirty="0">
                <a:latin typeface="Arial"/>
                <a:cs typeface="Arial"/>
              </a:rPr>
              <a:t>EVV Implementation Process</a:t>
            </a:r>
          </a:p>
          <a:p>
            <a:pPr marL="229870" lvl="1" indent="-229870">
              <a:spcAft>
                <a:spcPts val="1200"/>
              </a:spcAft>
            </a:pPr>
            <a:r>
              <a:rPr lang="en-US" sz="1800" dirty="0">
                <a:latin typeface="Arial"/>
                <a:cs typeface="Arial"/>
              </a:rPr>
              <a:t>EVV Implementation Schedule</a:t>
            </a:r>
          </a:p>
          <a:p>
            <a:pPr marL="229870" lvl="1" indent="-229870">
              <a:spcAft>
                <a:spcPts val="1200"/>
              </a:spcAft>
            </a:pPr>
            <a:r>
              <a:rPr lang="en-US" sz="1800" dirty="0">
                <a:latin typeface="Arial"/>
                <a:cs typeface="Arial"/>
              </a:rPr>
              <a:t>Q &amp; A</a:t>
            </a:r>
            <a:endParaRPr lang="en-US" dirty="0"/>
          </a:p>
          <a:p>
            <a:pPr marL="229870" lvl="1" indent="-229870">
              <a:spcAft>
                <a:spcPts val="1200"/>
              </a:spcAft>
            </a:pPr>
            <a:endParaRPr lang="en-US" sz="1800" dirty="0"/>
          </a:p>
          <a:p>
            <a:pPr marL="0" lvl="1" indent="0">
              <a:spcAft>
                <a:spcPts val="1200"/>
              </a:spcAft>
              <a:buNone/>
            </a:pPr>
            <a:r>
              <a:rPr lang="en-US" sz="1800" dirty="0"/>
              <a:t>Please write your questions in the chat box.  We will go through any questions in the chat box first during the Q &amp; A period and then open it up for additional questions.  </a:t>
            </a:r>
          </a:p>
        </p:txBody>
      </p:sp>
      <p:sp>
        <p:nvSpPr>
          <p:cNvPr id="2" name="Title 1"/>
          <p:cNvSpPr>
            <a:spLocks noGrp="1"/>
          </p:cNvSpPr>
          <p:nvPr>
            <p:ph type="title"/>
          </p:nvPr>
        </p:nvSpPr>
        <p:spPr/>
        <p:txBody>
          <a:bodyPr/>
          <a:lstStyle/>
          <a:p>
            <a:r>
              <a:rPr lang="en-US" dirty="0"/>
              <a:t>Agenda</a:t>
            </a:r>
          </a:p>
        </p:txBody>
      </p:sp>
      <p:pic>
        <p:nvPicPr>
          <p:cNvPr id="6" name="Picture 5">
            <a:extLst>
              <a:ext uri="{FF2B5EF4-FFF2-40B4-BE49-F238E27FC236}">
                <a16:creationId xmlns:a16="http://schemas.microsoft.com/office/drawing/2014/main" id="{E029D1F5-9B1B-454B-A73F-89D0CC261B2A}"/>
              </a:ext>
            </a:extLst>
          </p:cNvPr>
          <p:cNvPicPr/>
          <p:nvPr/>
        </p:nvPicPr>
        <p:blipFill rotWithShape="1">
          <a:blip r:embed="rId6"/>
          <a:srcRect l="75149" t="60729" b="11686"/>
          <a:stretch/>
        </p:blipFill>
        <p:spPr bwMode="auto">
          <a:xfrm>
            <a:off x="5334000" y="3505200"/>
            <a:ext cx="3228975" cy="2286000"/>
          </a:xfrm>
          <a:prstGeom prst="rect">
            <a:avLst/>
          </a:prstGeom>
          <a:ln>
            <a:noFill/>
          </a:ln>
          <a:extLst>
            <a:ext uri="{53640926-AAD7-44D8-BBD7-CCE9431645EC}">
              <a14:shadowObscured xmlns:a14="http://schemas.microsoft.com/office/drawing/2010/main"/>
            </a:ext>
          </a:extLst>
        </p:spPr>
      </p:pic>
      <p:cxnSp>
        <p:nvCxnSpPr>
          <p:cNvPr id="8" name="Straight Arrow Connector 7">
            <a:extLst>
              <a:ext uri="{FF2B5EF4-FFF2-40B4-BE49-F238E27FC236}">
                <a16:creationId xmlns:a16="http://schemas.microsoft.com/office/drawing/2014/main" id="{FAD3F4E8-368E-4942-9217-E99AFFC92976}"/>
              </a:ext>
            </a:extLst>
          </p:cNvPr>
          <p:cNvCxnSpPr/>
          <p:nvPr/>
        </p:nvCxnSpPr>
        <p:spPr>
          <a:xfrm>
            <a:off x="4267200" y="4700052"/>
            <a:ext cx="914400" cy="710148"/>
          </a:xfrm>
          <a:prstGeom prst="straightConnector1">
            <a:avLst/>
          </a:prstGeom>
          <a:ln w="22225" cap="flat" cmpd="sng" algn="ctr">
            <a:solidFill>
              <a:srgbClr val="C0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596861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914400"/>
            <a:ext cx="8229600" cy="323165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lectronic Visit Verification (EVV) refers to the technology used to capture timesheet and location information of a worker providing in-home services</a:t>
            </a:r>
          </a:p>
          <a:p>
            <a:pPr lvl="1">
              <a:spcAft>
                <a:spcPts val="1200"/>
              </a:spcAft>
            </a:pPr>
            <a:r>
              <a:rPr lang="en-US" sz="1800" dirty="0"/>
              <a:t>EVV systems can vary but, instead of a timesheet, the worker uses the EVV system to check in and check out. </a:t>
            </a:r>
          </a:p>
          <a:p>
            <a:pPr lvl="1">
              <a:spcAft>
                <a:spcPts val="1200"/>
              </a:spcAft>
            </a:pPr>
            <a:r>
              <a:rPr lang="en-US" sz="1800" dirty="0"/>
              <a:t>The most common types of EVV systems are:</a:t>
            </a:r>
          </a:p>
          <a:p>
            <a:pPr lvl="3">
              <a:spcAft>
                <a:spcPts val="1200"/>
              </a:spcAft>
            </a:pPr>
            <a:r>
              <a:rPr lang="en-US" dirty="0"/>
              <a:t>Mobile (using a personal device, usually a phone)</a:t>
            </a:r>
          </a:p>
          <a:p>
            <a:pPr lvl="3">
              <a:spcAft>
                <a:spcPts val="1200"/>
              </a:spcAft>
            </a:pPr>
            <a:r>
              <a:rPr lang="en-US" dirty="0"/>
              <a:t>Telephony (using a landline)</a:t>
            </a:r>
          </a:p>
          <a:p>
            <a:pPr lvl="3">
              <a:spcAft>
                <a:spcPts val="1200"/>
              </a:spcAft>
            </a:pPr>
            <a:r>
              <a:rPr lang="en-US" dirty="0"/>
              <a:t>Fixed device (acquiring a code from a device that is “fixed” in the consumer’s home)</a:t>
            </a:r>
          </a:p>
        </p:txBody>
      </p:sp>
      <p:sp>
        <p:nvSpPr>
          <p:cNvPr id="2" name="Title 1"/>
          <p:cNvSpPr>
            <a:spLocks noGrp="1"/>
          </p:cNvSpPr>
          <p:nvPr>
            <p:ph type="title"/>
          </p:nvPr>
        </p:nvSpPr>
        <p:spPr/>
        <p:txBody>
          <a:bodyPr/>
          <a:lstStyle/>
          <a:p>
            <a:r>
              <a:rPr lang="en-US" dirty="0"/>
              <a:t>High-Level Overview of EVV</a:t>
            </a:r>
          </a:p>
        </p:txBody>
      </p:sp>
      <p:pic>
        <p:nvPicPr>
          <p:cNvPr id="7" name="Picture 6" descr="Icon&#10;&#10;Description automatically generated">
            <a:extLst>
              <a:ext uri="{FF2B5EF4-FFF2-40B4-BE49-F238E27FC236}">
                <a16:creationId xmlns:a16="http://schemas.microsoft.com/office/drawing/2014/main" id="{2F2F1520-FD81-4E52-97CA-2FC05DF6D8B1}"/>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2895600" y="3877056"/>
            <a:ext cx="2743200" cy="2743200"/>
          </a:xfrm>
          <a:prstGeom prst="rect">
            <a:avLst/>
          </a:prstGeom>
        </p:spPr>
      </p:pic>
    </p:spTree>
    <p:extLst>
      <p:ext uri="{BB962C8B-B14F-4D97-AF65-F5344CB8AC3E}">
        <p14:creationId xmlns:p14="http://schemas.microsoft.com/office/powerpoint/2010/main" val="10339991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914400"/>
            <a:ext cx="8416164" cy="5201424"/>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9870" lvl="1" indent="-229870">
              <a:spcAft>
                <a:spcPts val="1200"/>
              </a:spcAft>
            </a:pPr>
            <a:r>
              <a:rPr lang="en-US" sz="1800" dirty="0">
                <a:latin typeface="Arial"/>
                <a:cs typeface="Arial"/>
              </a:rPr>
              <a:t>EVV is a federal requirement based on the 21</a:t>
            </a:r>
            <a:r>
              <a:rPr lang="en-US" sz="1800" baseline="30000" dirty="0">
                <a:latin typeface="Arial"/>
                <a:cs typeface="Arial"/>
              </a:rPr>
              <a:t>st</a:t>
            </a:r>
            <a:r>
              <a:rPr lang="en-US" sz="1800" dirty="0">
                <a:latin typeface="Arial"/>
                <a:cs typeface="Arial"/>
              </a:rPr>
              <a:t> Century Cures Act (Cures Act)</a:t>
            </a:r>
            <a:endParaRPr lang="en-US" dirty="0">
              <a:latin typeface="Arial"/>
              <a:cs typeface="Arial"/>
            </a:endParaRPr>
          </a:p>
          <a:p>
            <a:pPr marL="229870" lvl="1" indent="-229870">
              <a:spcAft>
                <a:spcPts val="1200"/>
              </a:spcAft>
            </a:pPr>
            <a:r>
              <a:rPr lang="en-US" sz="1800" dirty="0">
                <a:latin typeface="Arial"/>
                <a:ea typeface="Times New Roman" panose="02020603050405020304" pitchFamily="18" charset="0"/>
                <a:cs typeface="Arial"/>
              </a:rPr>
              <a:t>Providers are federally required to implement EVV for</a:t>
            </a:r>
            <a:r>
              <a:rPr lang="en-US" sz="1800" dirty="0">
                <a:latin typeface="Arial"/>
                <a:cs typeface="Arial"/>
              </a:rPr>
              <a:t> homemaker, companion, and </a:t>
            </a:r>
            <a:r>
              <a:rPr lang="en-US" sz="1800" dirty="0">
                <a:latin typeface="Arial"/>
                <a:ea typeface="Times New Roman" panose="02020603050405020304" pitchFamily="18" charset="0"/>
                <a:cs typeface="Arial"/>
              </a:rPr>
              <a:t>personal care services provided to Medicaid recipients</a:t>
            </a:r>
          </a:p>
          <a:p>
            <a:pPr marL="229870" lvl="1" indent="-229870">
              <a:spcAft>
                <a:spcPts val="1200"/>
              </a:spcAft>
            </a:pPr>
            <a:r>
              <a:rPr lang="en-US" sz="1800" dirty="0">
                <a:latin typeface="Arial"/>
                <a:ea typeface="Times New Roman" panose="02020603050405020304" pitchFamily="18" charset="0"/>
                <a:cs typeface="Arial"/>
              </a:rPr>
              <a:t>Because EVV requirements extend to many providers, EOHHS decided to implement in phases</a:t>
            </a:r>
          </a:p>
          <a:p>
            <a:pPr marL="229870" lvl="1" indent="-229870">
              <a:spcAft>
                <a:spcPts val="1200"/>
              </a:spcAft>
            </a:pPr>
            <a:r>
              <a:rPr lang="en-US" sz="1800" dirty="0">
                <a:latin typeface="Arial"/>
                <a:ea typeface="Times New Roman" panose="02020603050405020304" pitchFamily="18" charset="0"/>
                <a:cs typeface="Arial"/>
              </a:rPr>
              <a:t>This phase (Phase II) impacts providers that contract directly with SCO and/or One Care Plans to provide personal care, homemaking and companion services  </a:t>
            </a:r>
            <a:endParaRPr lang="en-US" sz="1800" strike="sngStrike" dirty="0">
              <a:ea typeface="Times New Roman" panose="02020603050405020304" pitchFamily="18" charset="0"/>
            </a:endParaRPr>
          </a:p>
          <a:p>
            <a:pPr lvl="3">
              <a:spcAft>
                <a:spcPts val="1200"/>
              </a:spcAft>
            </a:pPr>
            <a:r>
              <a:rPr lang="en-US" sz="1800" dirty="0">
                <a:latin typeface="Arial"/>
                <a:ea typeface="Times New Roman" panose="02020603050405020304" pitchFamily="18" charset="0"/>
                <a:cs typeface="Arial"/>
              </a:rPr>
              <a:t>Many providers in Phase II are required to implement EVV for Phase I (ASAP-contracted providers)</a:t>
            </a:r>
          </a:p>
          <a:p>
            <a:pPr lvl="3">
              <a:spcAft>
                <a:spcPts val="1200"/>
              </a:spcAft>
            </a:pPr>
            <a:r>
              <a:rPr lang="en-US" sz="1800" dirty="0">
                <a:latin typeface="Arial"/>
                <a:ea typeface="Times New Roman" panose="02020603050405020304" pitchFamily="18" charset="0"/>
                <a:cs typeface="Arial"/>
              </a:rPr>
              <a:t>Requirements in Phase II will be similar to Phase I</a:t>
            </a:r>
          </a:p>
          <a:p>
            <a:pPr marL="0" lvl="1" indent="0">
              <a:spcAft>
                <a:spcPts val="1200"/>
              </a:spcAft>
              <a:buNone/>
            </a:pPr>
            <a:endParaRPr lang="en-US" sz="1800" strike="sngStrike" dirty="0">
              <a:solidFill>
                <a:srgbClr val="000000"/>
              </a:solidFill>
              <a:ea typeface="Times New Roman" panose="02020603050405020304" pitchFamily="18" charset="0"/>
            </a:endParaRPr>
          </a:p>
          <a:p>
            <a:pPr lvl="2">
              <a:spcAft>
                <a:spcPts val="1200"/>
              </a:spcAft>
              <a:buFont typeface="Arial" panose="020B0604020202020204" pitchFamily="34" charset="0"/>
              <a:buChar char="•"/>
            </a:pPr>
            <a:endParaRPr lang="en-US" sz="1800" dirty="0">
              <a:solidFill>
                <a:srgbClr val="FF0000"/>
              </a:solidFill>
              <a:ea typeface="Times New Roman" panose="02020603050405020304" pitchFamily="18" charset="0"/>
            </a:endParaRPr>
          </a:p>
          <a:p>
            <a:pPr marL="229870" lvl="1" indent="-229870">
              <a:spcAft>
                <a:spcPts val="1200"/>
              </a:spcAft>
            </a:pPr>
            <a:endParaRPr lang="en-US" sz="1800" dirty="0">
              <a:solidFill>
                <a:srgbClr val="000000"/>
              </a:solidFill>
              <a:ea typeface="Times New Roman" panose="02020603050405020304" pitchFamily="18" charset="0"/>
            </a:endParaRPr>
          </a:p>
        </p:txBody>
      </p:sp>
      <p:sp>
        <p:nvSpPr>
          <p:cNvPr id="2" name="Title 1"/>
          <p:cNvSpPr>
            <a:spLocks noGrp="1"/>
          </p:cNvSpPr>
          <p:nvPr>
            <p:ph type="title"/>
          </p:nvPr>
        </p:nvSpPr>
        <p:spPr/>
        <p:txBody>
          <a:bodyPr/>
          <a:lstStyle/>
          <a:p>
            <a:r>
              <a:rPr lang="en-US" dirty="0"/>
              <a:t>High-Level Overview of EVV</a:t>
            </a:r>
          </a:p>
        </p:txBody>
      </p:sp>
    </p:spTree>
    <p:extLst>
      <p:ext uri="{BB962C8B-B14F-4D97-AF65-F5344CB8AC3E}">
        <p14:creationId xmlns:p14="http://schemas.microsoft.com/office/powerpoint/2010/main" val="11238715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914400"/>
            <a:ext cx="4969764" cy="5570756"/>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9870" lvl="1" indent="-229870">
              <a:spcAft>
                <a:spcPts val="1200"/>
              </a:spcAft>
            </a:pPr>
            <a:r>
              <a:rPr lang="en-US" sz="1800" dirty="0"/>
              <a:t>The Cures Act requires EVV for all Medicaid-funded, in-home personal care services by January 1, 2020 and for all home health services by January 1, 2023</a:t>
            </a:r>
            <a:endParaRPr lang="en-US" dirty="0"/>
          </a:p>
          <a:p>
            <a:pPr marL="229870" lvl="1" indent="-229870">
              <a:spcAft>
                <a:spcPts val="1200"/>
              </a:spcAft>
            </a:pPr>
            <a:r>
              <a:rPr lang="en-US" sz="1800" dirty="0">
                <a:latin typeface="Arial"/>
                <a:cs typeface="Arial"/>
              </a:rPr>
              <a:t>The Commonwealth of Massachusetts got a Good Faith Effort extension that extended our personal care</a:t>
            </a:r>
            <a:r>
              <a:rPr lang="en-US" sz="1800" dirty="0">
                <a:solidFill>
                  <a:srgbClr val="FF0000"/>
                </a:solidFill>
                <a:latin typeface="Arial"/>
                <a:cs typeface="Arial"/>
              </a:rPr>
              <a:t> </a:t>
            </a:r>
            <a:r>
              <a:rPr lang="en-US" sz="1800" dirty="0">
                <a:latin typeface="Arial"/>
                <a:cs typeface="Arial"/>
              </a:rPr>
              <a:t>implementation deadline to January 1, 2021</a:t>
            </a:r>
          </a:p>
          <a:p>
            <a:pPr marL="229870" lvl="1" indent="-229870">
              <a:spcAft>
                <a:spcPts val="1200"/>
              </a:spcAft>
            </a:pPr>
            <a:r>
              <a:rPr lang="en-US" sz="1800" dirty="0"/>
              <a:t>CMS will issue financial penalties to states that miss the federal deadline</a:t>
            </a:r>
          </a:p>
          <a:p>
            <a:pPr marL="229870" lvl="1" indent="-229870">
              <a:spcAft>
                <a:spcPts val="1200"/>
              </a:spcAft>
            </a:pPr>
            <a:r>
              <a:rPr lang="en-US" sz="1800" dirty="0">
                <a:latin typeface="Arial"/>
                <a:cs typeface="Arial"/>
              </a:rPr>
              <a:t>Because of Covid-related delays, the Commonwealth will not meet the January 2021 deadline</a:t>
            </a:r>
          </a:p>
          <a:p>
            <a:pPr lvl="2">
              <a:spcAft>
                <a:spcPts val="1200"/>
              </a:spcAft>
            </a:pPr>
            <a:r>
              <a:rPr lang="en-US" sz="1800" dirty="0">
                <a:latin typeface="Arial"/>
                <a:cs typeface="Arial"/>
              </a:rPr>
              <a:t>Providers will not be held responsible for penalties associated with implementation after the federal deadline</a:t>
            </a:r>
            <a:endParaRPr lang="en-US" sz="1800" b="1" strike="sngStrike" dirty="0">
              <a:latin typeface="Arial"/>
              <a:cs typeface="Arial"/>
            </a:endParaRPr>
          </a:p>
          <a:p>
            <a:pPr marL="229870" lvl="1" indent="-229870">
              <a:spcAft>
                <a:spcPts val="1200"/>
              </a:spcAft>
            </a:pPr>
            <a:endParaRPr lang="en-US" sz="1800" dirty="0"/>
          </a:p>
        </p:txBody>
      </p:sp>
      <p:sp>
        <p:nvSpPr>
          <p:cNvPr id="2" name="Title 1"/>
          <p:cNvSpPr>
            <a:spLocks noGrp="1"/>
          </p:cNvSpPr>
          <p:nvPr>
            <p:ph type="title"/>
          </p:nvPr>
        </p:nvSpPr>
        <p:spPr/>
        <p:txBody>
          <a:bodyPr/>
          <a:lstStyle/>
          <a:p>
            <a:r>
              <a:rPr lang="en-US" dirty="0"/>
              <a:t>High-Level Overview of EVV</a:t>
            </a:r>
          </a:p>
        </p:txBody>
      </p:sp>
      <p:pic>
        <p:nvPicPr>
          <p:cNvPr id="6" name="Picture 5" descr="A picture containing shape&#10;&#10;Description automatically generated">
            <a:extLst>
              <a:ext uri="{FF2B5EF4-FFF2-40B4-BE49-F238E27FC236}">
                <a16:creationId xmlns:a16="http://schemas.microsoft.com/office/drawing/2014/main" id="{0666CDAB-787F-418E-A547-EBE11D2B354C}"/>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5867400" y="1524000"/>
            <a:ext cx="3009900" cy="3009900"/>
          </a:xfrm>
          <a:prstGeom prst="rect">
            <a:avLst/>
          </a:prstGeom>
        </p:spPr>
      </p:pic>
    </p:spTree>
    <p:extLst>
      <p:ext uri="{BB962C8B-B14F-4D97-AF65-F5344CB8AC3E}">
        <p14:creationId xmlns:p14="http://schemas.microsoft.com/office/powerpoint/2010/main" val="31319881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3"/>
            </p:custDataLst>
          </p:nvPr>
        </p:nvSpPr>
        <p:spPr bwMode="gray">
          <a:xfrm>
            <a:off x="173736" y="237744"/>
            <a:ext cx="8763000" cy="292388"/>
          </a:xfrm>
        </p:spPr>
        <p:txBody>
          <a:bodyPr/>
          <a:lstStyle/>
          <a:p>
            <a:r>
              <a:rPr lang="en-US" altLang="en-US" dirty="0"/>
              <a:t>Options for EVV Compliance</a:t>
            </a:r>
          </a:p>
        </p:txBody>
      </p:sp>
      <p:sp>
        <p:nvSpPr>
          <p:cNvPr id="543749" name="Rectangle 5">
            <a:extLst>
              <a:ext uri="{FF2B5EF4-FFF2-40B4-BE49-F238E27FC236}">
                <a16:creationId xmlns:a16="http://schemas.microsoft.com/office/drawing/2014/main" id="{83561FE3-3A4B-4048-A79A-1C21C1F81DAB}"/>
              </a:ext>
            </a:extLst>
          </p:cNvPr>
          <p:cNvSpPr>
            <a:spLocks noChangeArrowheads="1"/>
          </p:cNvSpPr>
          <p:nvPr>
            <p:custDataLst>
              <p:tags r:id="rId4"/>
            </p:custDataLst>
          </p:nvPr>
        </p:nvSpPr>
        <p:spPr bwMode="gray">
          <a:xfrm>
            <a:off x="408445" y="1676401"/>
            <a:ext cx="3958657" cy="988635"/>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Alternate EVV System</a:t>
            </a:r>
          </a:p>
          <a:p>
            <a:pPr algn="ctr">
              <a:defRPr/>
            </a:pPr>
            <a:endParaRPr lang="en-US" sz="1200" b="1" dirty="0">
              <a:latin typeface="Arial" panose="020B0604020202020204" pitchFamily="34" charset="0"/>
              <a:cs typeface="Arial" panose="020B0604020202020204" pitchFamily="34" charset="0"/>
            </a:endParaRPr>
          </a:p>
          <a:p>
            <a:pPr algn="ctr">
              <a:defRPr/>
            </a:pPr>
            <a:r>
              <a:rPr lang="en-US" sz="1200" b="1" dirty="0">
                <a:latin typeface="Arial" panose="020B0604020202020204" pitchFamily="34" charset="0"/>
                <a:cs typeface="Arial" panose="020B0604020202020204" pitchFamily="34" charset="0"/>
              </a:rPr>
              <a:t>Any system purchased by a provider that meets Cures Act and EOHHS requirements</a:t>
            </a:r>
          </a:p>
        </p:txBody>
      </p:sp>
      <p:sp>
        <p:nvSpPr>
          <p:cNvPr id="8" name="Rectangle 6">
            <a:extLst>
              <a:ext uri="{FF2B5EF4-FFF2-40B4-BE49-F238E27FC236}">
                <a16:creationId xmlns:a16="http://schemas.microsoft.com/office/drawing/2014/main" id="{1CEAAAEA-4F0D-447E-8751-C6D00808FB96}"/>
              </a:ext>
            </a:extLst>
          </p:cNvPr>
          <p:cNvSpPr txBox="1">
            <a:spLocks noChangeArrowheads="1"/>
          </p:cNvSpPr>
          <p:nvPr>
            <p:custDataLst>
              <p:tags r:id="rId5"/>
            </p:custDataLst>
          </p:nvPr>
        </p:nvSpPr>
        <p:spPr bwMode="auto">
          <a:xfrm>
            <a:off x="408445" y="2665033"/>
            <a:ext cx="3958657" cy="3811967"/>
          </a:xfrm>
          <a:prstGeom prst="rect">
            <a:avLst/>
          </a:prstGeom>
          <a:solidFill>
            <a:schemeClr val="bg1"/>
          </a:solidFill>
          <a:ln>
            <a:solidFill>
              <a:schemeClr val="accent2"/>
            </a:solidFill>
            <a:miter lim="800000"/>
            <a:headEnd/>
            <a:tailEnd/>
          </a:ln>
          <a:effectLst/>
        </p:spPr>
        <p:txBody>
          <a:bodyPr lIns="91440" tIns="93297" rIns="91440" bIns="93297" anchor="t"/>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indent="-191770">
              <a:defRPr/>
            </a:pPr>
            <a:r>
              <a:rPr lang="en-US" dirty="0">
                <a:latin typeface="Arial"/>
                <a:cs typeface="Arial"/>
              </a:rPr>
              <a:t>Systems can use a variety of technologies to meet EVV requirements </a:t>
            </a:r>
            <a:endParaRPr lang="en-US"/>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Systems are generally customized for the provider’s specific use </a:t>
            </a:r>
            <a:endParaRPr lang="en-US" dirty="0">
              <a:latin typeface="Arial" panose="020B0604020202020204" pitchFamily="34" charset="0"/>
              <a:cs typeface="Arial" panose="020B0604020202020204" pitchFamily="34" charset="0"/>
            </a:endParaRP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Cost of system and devices, if applicable, is borne by the provider</a:t>
            </a: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Providers upload a standard file to EOHHS’ Data Aggregator (a data warehouse of EVV visit data) on at least a monthly basis</a:t>
            </a:r>
            <a:endParaRPr lang="en-US" strike="sngStrike" dirty="0">
              <a:latin typeface="Arial"/>
              <a:cs typeface="Arial"/>
            </a:endParaRPr>
          </a:p>
        </p:txBody>
      </p:sp>
      <p:sp>
        <p:nvSpPr>
          <p:cNvPr id="543748" name="Rectangle 4">
            <a:extLst>
              <a:ext uri="{FF2B5EF4-FFF2-40B4-BE49-F238E27FC236}">
                <a16:creationId xmlns:a16="http://schemas.microsoft.com/office/drawing/2014/main" id="{93C09F4B-6D27-4DA9-A8A8-DE7F9A965671}"/>
              </a:ext>
            </a:extLst>
          </p:cNvPr>
          <p:cNvSpPr>
            <a:spLocks noChangeArrowheads="1"/>
          </p:cNvSpPr>
          <p:nvPr>
            <p:custDataLst>
              <p:tags r:id="rId6"/>
            </p:custDataLst>
          </p:nvPr>
        </p:nvSpPr>
        <p:spPr bwMode="gray">
          <a:xfrm>
            <a:off x="4776898" y="1676401"/>
            <a:ext cx="3958657" cy="988635"/>
          </a:xfrm>
          <a:prstGeom prst="rect">
            <a:avLst/>
          </a:prstGeom>
          <a:solidFill>
            <a:schemeClr val="accent1"/>
          </a:solidFill>
          <a:ln w="9525" algn="ctr">
            <a:solidFill>
              <a:schemeClr val="accent2"/>
            </a:solidFill>
            <a:miter lim="800000"/>
            <a:headEnd/>
            <a:tailEnd/>
          </a:ln>
          <a:effectLst/>
        </p:spPr>
        <p:txBody>
          <a:bodyPr lIns="91440" tIns="93297" rIns="91440" bIns="93297" anchor="t">
            <a:spAutoFit/>
          </a:bodyPr>
          <a:lstStyle/>
          <a:p>
            <a:pPr algn="ctr">
              <a:defRPr/>
            </a:pPr>
            <a:r>
              <a:rPr lang="en-US" sz="1600" b="1" dirty="0">
                <a:latin typeface="Arial" panose="020B0604020202020204" pitchFamily="34" charset="0"/>
                <a:cs typeface="Arial" panose="020B0604020202020204" pitchFamily="34" charset="0"/>
              </a:rPr>
              <a:t>MyTimesheet</a:t>
            </a:r>
          </a:p>
          <a:p>
            <a:pPr algn="ctr">
              <a:defRPr/>
            </a:pPr>
            <a:endParaRPr lang="en-US" sz="1200" b="1" dirty="0">
              <a:latin typeface="Arial" panose="020B0604020202020204" pitchFamily="34" charset="0"/>
              <a:cs typeface="Arial" panose="020B0604020202020204" pitchFamily="34" charset="0"/>
            </a:endParaRPr>
          </a:p>
          <a:p>
            <a:pPr algn="ctr">
              <a:defRPr/>
            </a:pPr>
            <a:endParaRPr lang="en-US" sz="1200" b="1" dirty="0">
              <a:latin typeface="Arial"/>
              <a:cs typeface="Arial"/>
            </a:endParaRPr>
          </a:p>
          <a:p>
            <a:pPr algn="ctr">
              <a:defRPr/>
            </a:pPr>
            <a:r>
              <a:rPr lang="en-US" sz="1200" b="1" dirty="0">
                <a:latin typeface="Arial"/>
                <a:cs typeface="Arial"/>
              </a:rPr>
              <a:t>State-sponsored EVV system</a:t>
            </a:r>
          </a:p>
        </p:txBody>
      </p:sp>
      <p:sp>
        <p:nvSpPr>
          <p:cNvPr id="10" name="Rectangle 7">
            <a:extLst>
              <a:ext uri="{FF2B5EF4-FFF2-40B4-BE49-F238E27FC236}">
                <a16:creationId xmlns:a16="http://schemas.microsoft.com/office/drawing/2014/main" id="{EACA351E-BEA1-47B4-BB76-44E78914C304}"/>
              </a:ext>
            </a:extLst>
          </p:cNvPr>
          <p:cNvSpPr txBox="1">
            <a:spLocks noChangeArrowheads="1"/>
          </p:cNvSpPr>
          <p:nvPr>
            <p:custDataLst>
              <p:tags r:id="rId7"/>
            </p:custDataLst>
          </p:nvPr>
        </p:nvSpPr>
        <p:spPr bwMode="auto">
          <a:xfrm>
            <a:off x="4776898" y="2665034"/>
            <a:ext cx="3968639" cy="3811966"/>
          </a:xfrm>
          <a:prstGeom prst="rect">
            <a:avLst/>
          </a:prstGeom>
          <a:solidFill>
            <a:schemeClr val="bg1"/>
          </a:solidFill>
          <a:ln>
            <a:solidFill>
              <a:schemeClr val="accent2"/>
            </a:solidFill>
            <a:miter lim="800000"/>
            <a:headEnd/>
            <a:tailEnd/>
          </a:ln>
          <a:effectLst/>
        </p:spPr>
        <p:txBody>
          <a:bodyPr lIns="91440" tIns="93297" rIns="91440" bIns="93297" anchor="t"/>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indent="-191770">
              <a:defRPr/>
            </a:pPr>
            <a:r>
              <a:rPr lang="en-US" dirty="0">
                <a:latin typeface="Arial"/>
                <a:cs typeface="Arial"/>
              </a:rPr>
              <a:t>Mobile-based system offered by Optum and configured for the State’s use</a:t>
            </a: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Integrated with Plans’ systems.  Consumer, provider, and service plan data will be uploaded nightly to simplify creation of appointments </a:t>
            </a:r>
            <a:endParaRPr lang="en-US" dirty="0">
              <a:latin typeface="Arial" panose="020B0604020202020204" pitchFamily="34" charset="0"/>
              <a:cs typeface="Arial" panose="020B0604020202020204" pitchFamily="34" charset="0"/>
            </a:endParaRP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Use of MyTimesheet system is free of charge but does not include the cost of devices</a:t>
            </a: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EVV data will be automatically uploaded to EOHHS’ Data Aggregator</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838200"/>
            <a:ext cx="8295120"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latin typeface="Arial"/>
                <a:cs typeface="Arial"/>
              </a:rPr>
              <a:t>EOHHS offers providers that</a:t>
            </a:r>
            <a:r>
              <a:rPr lang="en-US" sz="1800" dirty="0">
                <a:solidFill>
                  <a:srgbClr val="FF0000"/>
                </a:solidFill>
                <a:latin typeface="Arial"/>
                <a:cs typeface="Arial"/>
              </a:rPr>
              <a:t> </a:t>
            </a:r>
            <a:r>
              <a:rPr lang="en-US" sz="1800" dirty="0">
                <a:latin typeface="Arial"/>
                <a:cs typeface="Arial"/>
              </a:rPr>
              <a:t>directly contract with SCO and One Care Plans two options for achieving EVV compliance</a:t>
            </a:r>
          </a:p>
        </p:txBody>
      </p:sp>
    </p:spTree>
    <p:extLst>
      <p:ext uri="{BB962C8B-B14F-4D97-AF65-F5344CB8AC3E}">
        <p14:creationId xmlns:p14="http://schemas.microsoft.com/office/powerpoint/2010/main" val="2595467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5" name="Object 7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VV Implementation Process</a:t>
            </a:r>
          </a:p>
        </p:txBody>
      </p:sp>
      <p:sp>
        <p:nvSpPr>
          <p:cNvPr id="12" name="Rectangle 4">
            <a:extLst>
              <a:ext uri="{FF2B5EF4-FFF2-40B4-BE49-F238E27FC236}">
                <a16:creationId xmlns:a16="http://schemas.microsoft.com/office/drawing/2014/main" id="{B3348A7C-84F0-4912-8BCF-48A4F553FBAD}"/>
              </a:ext>
            </a:extLst>
          </p:cNvPr>
          <p:cNvSpPr>
            <a:spLocks noChangeArrowheads="1"/>
          </p:cNvSpPr>
          <p:nvPr>
            <p:custDataLst>
              <p:tags r:id="rId2"/>
            </p:custDataLst>
          </p:nvPr>
        </p:nvSpPr>
        <p:spPr bwMode="gray">
          <a:xfrm>
            <a:off x="472951" y="1603022"/>
            <a:ext cx="8153400" cy="680859"/>
          </a:xfrm>
          <a:prstGeom prst="rect">
            <a:avLst/>
          </a:prstGeom>
          <a:solidFill>
            <a:schemeClr val="accent1"/>
          </a:solidFill>
          <a:ln w="9525" algn="ctr">
            <a:solidFill>
              <a:schemeClr val="accent2"/>
            </a:solidFill>
            <a:miter lim="800000"/>
            <a:headEnd/>
            <a:tailEnd/>
          </a:ln>
          <a:effectLst/>
        </p:spPr>
        <p:txBody>
          <a:bodyPr wrap="square" lIns="91440" tIns="93297" rIns="91440" bIns="93297" anchor="b">
            <a:spAutoFit/>
          </a:bodyPr>
          <a:lstStyle/>
          <a:p>
            <a:pPr algn="ctr">
              <a:defRPr/>
            </a:pPr>
            <a:r>
              <a:rPr lang="en-US" sz="1600" b="1" dirty="0">
                <a:latin typeface="Arial"/>
                <a:cs typeface="Arial"/>
              </a:rPr>
              <a:t>If you are not sure whether you will use MyTimesheet or purchase an alternate EVV system, you should:</a:t>
            </a:r>
            <a:endParaRPr lang="en-US" sz="1600" b="1" dirty="0">
              <a:latin typeface="Arial" panose="020B0604020202020204" pitchFamily="34" charset="0"/>
              <a:cs typeface="Arial" panose="020B0604020202020204" pitchFamily="34" charset="0"/>
            </a:endParaRPr>
          </a:p>
        </p:txBody>
      </p:sp>
      <p:sp>
        <p:nvSpPr>
          <p:cNvPr id="13" name="Rectangle 7">
            <a:extLst>
              <a:ext uri="{FF2B5EF4-FFF2-40B4-BE49-F238E27FC236}">
                <a16:creationId xmlns:a16="http://schemas.microsoft.com/office/drawing/2014/main" id="{470A19C6-55AF-4C2F-881B-A7A54D057D0A}"/>
              </a:ext>
            </a:extLst>
          </p:cNvPr>
          <p:cNvSpPr txBox="1">
            <a:spLocks noChangeArrowheads="1"/>
          </p:cNvSpPr>
          <p:nvPr>
            <p:custDataLst>
              <p:tags r:id="rId3"/>
            </p:custDataLst>
          </p:nvPr>
        </p:nvSpPr>
        <p:spPr bwMode="auto">
          <a:xfrm>
            <a:off x="472134" y="2283307"/>
            <a:ext cx="8153400" cy="4155106"/>
          </a:xfrm>
          <a:prstGeom prst="rect">
            <a:avLst/>
          </a:prstGeom>
          <a:solidFill>
            <a:schemeClr val="bg1"/>
          </a:solidFill>
          <a:ln>
            <a:solidFill>
              <a:schemeClr val="accent2"/>
            </a:solidFill>
            <a:miter lim="800000"/>
            <a:headEnd/>
            <a:tailEnd/>
          </a:ln>
          <a:effectLst/>
        </p:spPr>
        <p:txBody>
          <a:bodyPr lIns="91440" tIns="93297" rIns="91440" bIns="93297" anchor="t"/>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indent="-191770">
              <a:buFont typeface="Wingdings" panose="05000000000000000000" pitchFamily="2" charset="2"/>
              <a:buChar char="ü"/>
              <a:defRPr/>
            </a:pPr>
            <a:r>
              <a:rPr lang="en-US" sz="1800" b="1" dirty="0">
                <a:latin typeface="Arial"/>
                <a:cs typeface="Arial"/>
              </a:rPr>
              <a:t>Research alternate EVV systems  </a:t>
            </a:r>
            <a:endParaRPr lang="en-US" sz="1800" dirty="0">
              <a:cs typeface="Calibri"/>
            </a:endParaRPr>
          </a:p>
          <a:p>
            <a:pPr lvl="1" indent="-191770">
              <a:buFont typeface="Wingdings" panose="05000000000000000000" pitchFamily="2" charset="2"/>
              <a:buChar char="ü"/>
              <a:defRPr/>
            </a:pPr>
            <a:endParaRPr lang="en-US" sz="1800" b="1" dirty="0">
              <a:latin typeface="Arial" panose="020B0604020202020204" pitchFamily="34" charset="0"/>
              <a:cs typeface="Arial" panose="020B0604020202020204" pitchFamily="34" charset="0"/>
            </a:endParaRPr>
          </a:p>
          <a:p>
            <a:pPr lvl="1" indent="-191770">
              <a:buFont typeface="Wingdings" panose="05000000000000000000" pitchFamily="2" charset="2"/>
              <a:buChar char="ü"/>
              <a:defRPr/>
            </a:pPr>
            <a:r>
              <a:rPr lang="en-US" sz="1800" b="1" dirty="0">
                <a:latin typeface="Arial"/>
                <a:ea typeface="+mn-lt"/>
                <a:cs typeface="+mn-lt"/>
              </a:rPr>
              <a:t>Determine how your organization will address the device requirement</a:t>
            </a:r>
          </a:p>
          <a:p>
            <a:pPr lvl="1" indent="-191770">
              <a:buFont typeface="Wingdings" panose="05000000000000000000" pitchFamily="2" charset="2"/>
              <a:buChar char="ü"/>
              <a:defRPr/>
            </a:pPr>
            <a:endParaRPr lang="en-US" sz="1800" b="1" dirty="0">
              <a:latin typeface="Arial"/>
              <a:ea typeface="+mn-lt"/>
              <a:cs typeface="Arial"/>
            </a:endParaRPr>
          </a:p>
          <a:p>
            <a:pPr lvl="1" indent="-191770">
              <a:buFont typeface="Wingdings" panose="05000000000000000000" pitchFamily="2" charset="2"/>
              <a:buChar char="ü"/>
              <a:defRPr/>
            </a:pPr>
            <a:r>
              <a:rPr lang="en-US" sz="1800" b="1" dirty="0">
                <a:latin typeface="Arial"/>
                <a:cs typeface="Arial"/>
              </a:rPr>
              <a:t>Plan to attend the </a:t>
            </a:r>
            <a:r>
              <a:rPr lang="en-US" sz="1800" b="1" dirty="0" err="1">
                <a:latin typeface="Arial"/>
                <a:cs typeface="Arial"/>
              </a:rPr>
              <a:t>MyTimesheet</a:t>
            </a:r>
            <a:r>
              <a:rPr lang="en-US" sz="1800" b="1" dirty="0">
                <a:latin typeface="Arial"/>
                <a:cs typeface="Arial"/>
              </a:rPr>
              <a:t> demo</a:t>
            </a:r>
            <a:endParaRPr lang="en-US" sz="1800" dirty="0">
              <a:cs typeface="Calibri"/>
            </a:endParaRPr>
          </a:p>
          <a:p>
            <a:pPr lvl="1" indent="-191770">
              <a:buFont typeface="Wingdings,Sans-Serif" panose="05000000000000000000" pitchFamily="2" charset="2"/>
              <a:buChar char="ü"/>
              <a:defRPr/>
            </a:pPr>
            <a:endParaRPr lang="en-US" sz="1700" b="1" dirty="0">
              <a:latin typeface="Arial"/>
              <a:cs typeface="Arial"/>
            </a:endParaRPr>
          </a:p>
          <a:p>
            <a:pPr lvl="2" indent="-179070">
              <a:buFont typeface="Wingdings,Sans-Serif" panose="05000000000000000000" pitchFamily="2" charset="2"/>
              <a:buChar char="§"/>
              <a:defRPr/>
            </a:pPr>
            <a:r>
              <a:rPr lang="en-US" sz="1700" dirty="0">
                <a:latin typeface="Arial"/>
                <a:cs typeface="Arial"/>
              </a:rPr>
              <a:t>Optum will offer demonstrations of the </a:t>
            </a:r>
            <a:r>
              <a:rPr lang="en-US" sz="1700" dirty="0" err="1">
                <a:latin typeface="Arial"/>
                <a:cs typeface="Arial"/>
              </a:rPr>
              <a:t>MyTimesheet</a:t>
            </a:r>
            <a:r>
              <a:rPr lang="en-US" sz="1700" dirty="0">
                <a:latin typeface="Arial"/>
                <a:cs typeface="Arial"/>
              </a:rPr>
              <a:t> system to enable providers to make an informed decision if an alt-EVV system or </a:t>
            </a:r>
            <a:r>
              <a:rPr lang="en-US" sz="1700" dirty="0" err="1">
                <a:latin typeface="Arial"/>
                <a:cs typeface="Arial"/>
              </a:rPr>
              <a:t>MyTimesheet</a:t>
            </a:r>
            <a:r>
              <a:rPr lang="en-US" sz="1700" dirty="0">
                <a:latin typeface="Arial"/>
                <a:cs typeface="Arial"/>
              </a:rPr>
              <a:t> is right for them</a:t>
            </a:r>
            <a:endParaRPr lang="en-US" sz="1700" dirty="0">
              <a:latin typeface="Arial" panose="020B0604020202020204" pitchFamily="34" charset="0"/>
              <a:cs typeface="Arial" panose="020B0604020202020204" pitchFamily="34" charset="0"/>
            </a:endParaRPr>
          </a:p>
          <a:p>
            <a:pPr lvl="2" indent="-179070">
              <a:buFont typeface="Wingdings,Sans-Serif" panose="05000000000000000000" pitchFamily="2" charset="2"/>
              <a:buChar char="§"/>
              <a:defRPr/>
            </a:pPr>
            <a:endParaRPr lang="en-US" sz="1700" dirty="0">
              <a:latin typeface="Arial"/>
              <a:cs typeface="Arial"/>
            </a:endParaRPr>
          </a:p>
          <a:p>
            <a:pPr lvl="2" indent="-179070">
              <a:buFont typeface="Wingdings,Sans-Serif" panose="05000000000000000000" pitchFamily="2" charset="2"/>
              <a:buChar char="§"/>
              <a:defRPr/>
            </a:pPr>
            <a:r>
              <a:rPr lang="en-US" sz="1700" dirty="0">
                <a:latin typeface="Arial"/>
                <a:cs typeface="Arial"/>
              </a:rPr>
              <a:t>Do not wait until the </a:t>
            </a:r>
            <a:r>
              <a:rPr lang="en-US" sz="1700" dirty="0" err="1">
                <a:latin typeface="Arial"/>
                <a:cs typeface="Arial"/>
              </a:rPr>
              <a:t>MyTimesheet</a:t>
            </a:r>
            <a:r>
              <a:rPr lang="en-US" sz="1700" dirty="0">
                <a:latin typeface="Arial"/>
                <a:cs typeface="Arial"/>
              </a:rPr>
              <a:t> demo to research alternate EVV systems </a:t>
            </a:r>
          </a:p>
          <a:p>
            <a:pPr lvl="2" indent="-179070">
              <a:buFont typeface="Wingdings,Sans-Serif" panose="05000000000000000000" pitchFamily="2" charset="2"/>
              <a:buChar char="§"/>
              <a:defRPr/>
            </a:pPr>
            <a:endParaRPr lang="en-US" sz="1700" dirty="0">
              <a:latin typeface="Arial"/>
              <a:cs typeface="Arial"/>
            </a:endParaRPr>
          </a:p>
          <a:p>
            <a:pPr lvl="2" indent="-179070">
              <a:buFont typeface="Wingdings,Sans-Serif" panose="05000000000000000000" pitchFamily="2" charset="2"/>
              <a:buChar char="§"/>
              <a:defRPr/>
            </a:pPr>
            <a:r>
              <a:rPr lang="en-US" sz="1700" dirty="0">
                <a:latin typeface="Arial"/>
                <a:cs typeface="Arial"/>
              </a:rPr>
              <a:t>If you determine after the </a:t>
            </a:r>
            <a:r>
              <a:rPr lang="en-US" sz="1700" dirty="0" err="1">
                <a:latin typeface="Arial"/>
                <a:cs typeface="Arial"/>
              </a:rPr>
              <a:t>MyTimesheet</a:t>
            </a:r>
            <a:r>
              <a:rPr lang="en-US" sz="1700" dirty="0">
                <a:latin typeface="Arial"/>
                <a:cs typeface="Arial"/>
              </a:rPr>
              <a:t> demo that you want to pursue alternate EVV, you will need to proceed with your alternate EVV system to meet implementation deadlines </a:t>
            </a:r>
          </a:p>
          <a:p>
            <a:pPr lvl="1" indent="-191770">
              <a:buFont typeface="Wingdings" panose="05000000000000000000" pitchFamily="2" charset="2"/>
              <a:buChar char="ü"/>
              <a:defRPr/>
            </a:pPr>
            <a:endParaRPr lang="en-US" sz="1400" dirty="0">
              <a:latin typeface="Arial" panose="020B0604020202020204" pitchFamily="34" charset="0"/>
              <a:cs typeface="Arial" panose="020B0604020202020204" pitchFamily="34" charset="0"/>
            </a:endParaRPr>
          </a:p>
          <a:p>
            <a:pPr lvl="1" indent="-191770">
              <a:buFont typeface="Wingdings" panose="05000000000000000000" pitchFamily="2" charset="2"/>
              <a:buChar char="ü"/>
              <a:defRPr/>
            </a:pPr>
            <a:endParaRPr lang="en-US" sz="1400" b="1" dirty="0">
              <a:latin typeface="Arial" panose="020B0604020202020204" pitchFamily="34" charset="0"/>
              <a:cs typeface="Arial" panose="020B0604020202020204" pitchFamily="34" charset="0"/>
            </a:endParaRPr>
          </a:p>
        </p:txBody>
      </p:sp>
      <p:sp>
        <p:nvSpPr>
          <p:cNvPr id="2" name="Text Placeholder 2">
            <a:extLst>
              <a:ext uri="{FF2B5EF4-FFF2-40B4-BE49-F238E27FC236}">
                <a16:creationId xmlns:a16="http://schemas.microsoft.com/office/drawing/2014/main" id="{D0B98520-2D48-4422-8C7D-E2A275CCD929}"/>
              </a:ext>
            </a:extLst>
          </p:cNvPr>
          <p:cNvSpPr txBox="1">
            <a:spLocks/>
          </p:cNvSpPr>
          <p:nvPr/>
        </p:nvSpPr>
        <p:spPr>
          <a:xfrm>
            <a:off x="440435" y="838200"/>
            <a:ext cx="8295120"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latin typeface="Arial"/>
                <a:cs typeface="Arial"/>
              </a:rPr>
              <a:t>Some providers may know if they are going to use an alternate EVV system or the MyTimesheet EVV system</a:t>
            </a:r>
          </a:p>
        </p:txBody>
      </p:sp>
    </p:spTree>
    <p:extLst>
      <p:ext uri="{BB962C8B-B14F-4D97-AF65-F5344CB8AC3E}">
        <p14:creationId xmlns:p14="http://schemas.microsoft.com/office/powerpoint/2010/main" val="3108796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3"/>
            </p:custDataLst>
          </p:nvPr>
        </p:nvSpPr>
        <p:spPr bwMode="gray">
          <a:xfrm>
            <a:off x="173736" y="237744"/>
            <a:ext cx="8763000" cy="292388"/>
          </a:xfrm>
        </p:spPr>
        <p:txBody>
          <a:bodyPr/>
          <a:lstStyle/>
          <a:p>
            <a:r>
              <a:rPr lang="en-US" altLang="en-US" dirty="0"/>
              <a:t>EVV Implementation Schedule</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372616" y="628856"/>
            <a:ext cx="8093965"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a:latin typeface="Arial"/>
                <a:cs typeface="Arial"/>
              </a:rPr>
              <a:t>The </a:t>
            </a:r>
            <a:r>
              <a:rPr lang="en-US" sz="1800" dirty="0">
                <a:latin typeface="Arial"/>
                <a:cs typeface="Arial"/>
              </a:rPr>
              <a:t>timeline below illustrates key milestones in EVV implementation for providers directly contracted with SCO and/or One Care plans.  </a:t>
            </a:r>
            <a:endParaRPr lang="en-US" sz="1800" strike="sngStrike" dirty="0"/>
          </a:p>
        </p:txBody>
      </p:sp>
      <p:graphicFrame>
        <p:nvGraphicFramePr>
          <p:cNvPr id="3" name="Diagram 2">
            <a:extLst>
              <a:ext uri="{FF2B5EF4-FFF2-40B4-BE49-F238E27FC236}">
                <a16:creationId xmlns:a16="http://schemas.microsoft.com/office/drawing/2014/main" id="{3E023D00-1037-435D-8F4A-6A7E81BFBBB2}"/>
              </a:ext>
            </a:extLst>
          </p:cNvPr>
          <p:cNvGraphicFramePr/>
          <p:nvPr>
            <p:extLst>
              <p:ext uri="{D42A27DB-BD31-4B8C-83A1-F6EECF244321}">
                <p14:modId xmlns:p14="http://schemas.microsoft.com/office/powerpoint/2010/main" val="123413522"/>
              </p:ext>
            </p:extLst>
          </p:nvPr>
        </p:nvGraphicFramePr>
        <p:xfrm>
          <a:off x="641618" y="3200400"/>
          <a:ext cx="8093963" cy="3352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7" name="Straight Connector 6">
            <a:extLst>
              <a:ext uri="{FF2B5EF4-FFF2-40B4-BE49-F238E27FC236}">
                <a16:creationId xmlns:a16="http://schemas.microsoft.com/office/drawing/2014/main" id="{BFFCA4E1-06C1-492B-8004-7BAE06AACCAF}"/>
              </a:ext>
            </a:extLst>
          </p:cNvPr>
          <p:cNvCxnSpPr/>
          <p:nvPr/>
        </p:nvCxnSpPr>
        <p:spPr>
          <a:xfrm flipV="1">
            <a:off x="6324600" y="3276600"/>
            <a:ext cx="0" cy="1295400"/>
          </a:xfrm>
          <a:prstGeom prst="line">
            <a:avLst/>
          </a:prstGeom>
          <a:ln w="25400">
            <a:tailEnd type="oval"/>
          </a:ln>
        </p:spPr>
        <p:style>
          <a:lnRef idx="1">
            <a:schemeClr val="accent2"/>
          </a:lnRef>
          <a:fillRef idx="0">
            <a:schemeClr val="accent2"/>
          </a:fillRef>
          <a:effectRef idx="0">
            <a:schemeClr val="accent2"/>
          </a:effectRef>
          <a:fontRef idx="minor">
            <a:schemeClr val="tx1"/>
          </a:fontRef>
        </p:style>
      </p:cxnSp>
      <p:sp>
        <p:nvSpPr>
          <p:cNvPr id="15" name="TextBox 14">
            <a:extLst>
              <a:ext uri="{FF2B5EF4-FFF2-40B4-BE49-F238E27FC236}">
                <a16:creationId xmlns:a16="http://schemas.microsoft.com/office/drawing/2014/main" id="{632EF240-30A1-43E1-BA03-F5B9FAD32FCD}"/>
              </a:ext>
            </a:extLst>
          </p:cNvPr>
          <p:cNvSpPr txBox="1"/>
          <p:nvPr/>
        </p:nvSpPr>
        <p:spPr bwMode="auto">
          <a:xfrm>
            <a:off x="5283484" y="2703732"/>
            <a:ext cx="2082231"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600" kern="0" dirty="0">
                <a:solidFill>
                  <a:srgbClr val="000000"/>
                </a:solidFill>
                <a:latin typeface="Arial" panose="020B0604020202020204" pitchFamily="34" charset="0"/>
                <a:cs typeface="Arial" panose="020B0604020202020204" pitchFamily="34" charset="0"/>
              </a:rPr>
              <a:t>Data Aggregator </a:t>
            </a:r>
          </a:p>
          <a:p>
            <a:pPr algn="ctr"/>
            <a:r>
              <a:rPr lang="en-US" sz="1600" kern="0" dirty="0">
                <a:solidFill>
                  <a:srgbClr val="000000"/>
                </a:solidFill>
                <a:latin typeface="Arial" panose="020B0604020202020204" pitchFamily="34" charset="0"/>
                <a:cs typeface="Arial" panose="020B0604020202020204" pitchFamily="34" charset="0"/>
              </a:rPr>
              <a:t>Go-Live</a:t>
            </a:r>
          </a:p>
        </p:txBody>
      </p:sp>
      <p:cxnSp>
        <p:nvCxnSpPr>
          <p:cNvPr id="21" name="Straight Connector 20">
            <a:extLst>
              <a:ext uri="{FF2B5EF4-FFF2-40B4-BE49-F238E27FC236}">
                <a16:creationId xmlns:a16="http://schemas.microsoft.com/office/drawing/2014/main" id="{0F8065E3-3A27-4935-B814-1EE10D1E52E1}"/>
              </a:ext>
            </a:extLst>
          </p:cNvPr>
          <p:cNvCxnSpPr/>
          <p:nvPr/>
        </p:nvCxnSpPr>
        <p:spPr>
          <a:xfrm flipV="1">
            <a:off x="8382000" y="3276600"/>
            <a:ext cx="0" cy="1295400"/>
          </a:xfrm>
          <a:prstGeom prst="line">
            <a:avLst/>
          </a:prstGeom>
          <a:ln w="25400">
            <a:tailEnd type="oval"/>
          </a:ln>
        </p:spPr>
        <p:style>
          <a:lnRef idx="1">
            <a:schemeClr val="accent2"/>
          </a:lnRef>
          <a:fillRef idx="0">
            <a:schemeClr val="accent2"/>
          </a:fillRef>
          <a:effectRef idx="0">
            <a:schemeClr val="accent2"/>
          </a:effectRef>
          <a:fontRef idx="minor">
            <a:schemeClr val="tx1"/>
          </a:fontRef>
        </p:style>
      </p:cxnSp>
      <p:sp>
        <p:nvSpPr>
          <p:cNvPr id="22" name="TextBox 21">
            <a:extLst>
              <a:ext uri="{FF2B5EF4-FFF2-40B4-BE49-F238E27FC236}">
                <a16:creationId xmlns:a16="http://schemas.microsoft.com/office/drawing/2014/main" id="{1B8A0B51-4674-40F1-B01D-075DF9F3F91A}"/>
              </a:ext>
            </a:extLst>
          </p:cNvPr>
          <p:cNvSpPr txBox="1"/>
          <p:nvPr/>
        </p:nvSpPr>
        <p:spPr bwMode="auto">
          <a:xfrm>
            <a:off x="7620007" y="2733904"/>
            <a:ext cx="1447794" cy="466496"/>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600" kern="0" dirty="0">
                <a:solidFill>
                  <a:srgbClr val="000000"/>
                </a:solidFill>
                <a:latin typeface="Arial" panose="020B0604020202020204" pitchFamily="34" charset="0"/>
                <a:cs typeface="Arial" panose="020B0604020202020204" pitchFamily="34" charset="0"/>
              </a:rPr>
              <a:t>MyTimesheet </a:t>
            </a:r>
          </a:p>
          <a:p>
            <a:pPr algn="ctr"/>
            <a:r>
              <a:rPr lang="en-US" sz="1600" kern="0" dirty="0">
                <a:solidFill>
                  <a:srgbClr val="000000"/>
                </a:solidFill>
                <a:latin typeface="Arial" panose="020B0604020202020204" pitchFamily="34" charset="0"/>
                <a:cs typeface="Arial" panose="020B0604020202020204" pitchFamily="34" charset="0"/>
              </a:rPr>
              <a:t>Go-Live</a:t>
            </a:r>
          </a:p>
        </p:txBody>
      </p:sp>
      <p:sp>
        <p:nvSpPr>
          <p:cNvPr id="10" name="TextBox 9">
            <a:extLst>
              <a:ext uri="{FF2B5EF4-FFF2-40B4-BE49-F238E27FC236}">
                <a16:creationId xmlns:a16="http://schemas.microsoft.com/office/drawing/2014/main" id="{D8498119-6356-42DF-B67B-BEC6E6488947}"/>
              </a:ext>
            </a:extLst>
          </p:cNvPr>
          <p:cNvSpPr txBox="1"/>
          <p:nvPr/>
        </p:nvSpPr>
        <p:spPr bwMode="auto">
          <a:xfrm>
            <a:off x="1989900" y="5327662"/>
            <a:ext cx="5164199" cy="369332"/>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pPr algn="ctr"/>
            <a:r>
              <a:rPr lang="en-US" sz="1400" b="1" kern="0" dirty="0">
                <a:solidFill>
                  <a:srgbClr val="000000"/>
                </a:solidFill>
                <a:latin typeface="Arial"/>
                <a:cs typeface="Arial"/>
              </a:rPr>
              <a:t>Timeline dates are estimated and subject to change</a:t>
            </a:r>
            <a:endParaRPr lang="en-US" sz="1400" b="1" kern="0" dirty="0">
              <a:solidFill>
                <a:srgbClr val="000000"/>
              </a:solidFill>
              <a:latin typeface="Arial" panose="020B0604020202020204" pitchFamily="34" charset="0"/>
              <a:cs typeface="Arial" panose="020B0604020202020204" pitchFamily="34" charset="0"/>
            </a:endParaRPr>
          </a:p>
        </p:txBody>
      </p:sp>
      <p:cxnSp>
        <p:nvCxnSpPr>
          <p:cNvPr id="16" name="Straight Connector 15">
            <a:extLst>
              <a:ext uri="{FF2B5EF4-FFF2-40B4-BE49-F238E27FC236}">
                <a16:creationId xmlns:a16="http://schemas.microsoft.com/office/drawing/2014/main" id="{2C29A8DA-CA52-4B91-B5E4-0ADACE1F319B}"/>
              </a:ext>
            </a:extLst>
          </p:cNvPr>
          <p:cNvCxnSpPr/>
          <p:nvPr/>
        </p:nvCxnSpPr>
        <p:spPr>
          <a:xfrm flipV="1">
            <a:off x="1828800" y="3276600"/>
            <a:ext cx="0" cy="1295400"/>
          </a:xfrm>
          <a:prstGeom prst="line">
            <a:avLst/>
          </a:prstGeom>
          <a:ln w="25400">
            <a:tailEnd type="oval"/>
          </a:ln>
        </p:spPr>
        <p:style>
          <a:lnRef idx="1">
            <a:schemeClr val="accent2"/>
          </a:lnRef>
          <a:fillRef idx="0">
            <a:schemeClr val="accent2"/>
          </a:fillRef>
          <a:effectRef idx="0">
            <a:schemeClr val="accent2"/>
          </a:effectRef>
          <a:fontRef idx="minor">
            <a:schemeClr val="tx1"/>
          </a:fontRef>
        </p:style>
      </p:cxnSp>
      <p:sp>
        <p:nvSpPr>
          <p:cNvPr id="17" name="TextBox 16">
            <a:extLst>
              <a:ext uri="{FF2B5EF4-FFF2-40B4-BE49-F238E27FC236}">
                <a16:creationId xmlns:a16="http://schemas.microsoft.com/office/drawing/2014/main" id="{A5081988-B47B-4C84-B4CA-DF7BF5DA3AB3}"/>
              </a:ext>
            </a:extLst>
          </p:cNvPr>
          <p:cNvSpPr txBox="1"/>
          <p:nvPr/>
        </p:nvSpPr>
        <p:spPr bwMode="auto">
          <a:xfrm>
            <a:off x="787684" y="2768636"/>
            <a:ext cx="2082231"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600" kern="0" dirty="0" err="1">
                <a:solidFill>
                  <a:srgbClr val="000000"/>
                </a:solidFill>
                <a:latin typeface="Arial" panose="020B0604020202020204" pitchFamily="34" charset="0"/>
                <a:cs typeface="Arial" panose="020B0604020202020204" pitchFamily="34" charset="0"/>
              </a:rPr>
              <a:t>MyTimesheet</a:t>
            </a:r>
            <a:r>
              <a:rPr lang="en-US" sz="1600" kern="0" dirty="0">
                <a:solidFill>
                  <a:srgbClr val="000000"/>
                </a:solidFill>
                <a:latin typeface="Arial" panose="020B0604020202020204" pitchFamily="34" charset="0"/>
                <a:cs typeface="Arial" panose="020B0604020202020204" pitchFamily="34" charset="0"/>
              </a:rPr>
              <a:t> Demo</a:t>
            </a:r>
          </a:p>
        </p:txBody>
      </p:sp>
    </p:spTree>
    <p:extLst>
      <p:ext uri="{BB962C8B-B14F-4D97-AF65-F5344CB8AC3E}">
        <p14:creationId xmlns:p14="http://schemas.microsoft.com/office/powerpoint/2010/main" val="3390627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5" name="Object 7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VV Communication</a:t>
            </a:r>
          </a:p>
        </p:txBody>
      </p:sp>
      <p:sp>
        <p:nvSpPr>
          <p:cNvPr id="9" name="Content Placeholder 8"/>
          <p:cNvSpPr>
            <a:spLocks noGrp="1"/>
          </p:cNvSpPr>
          <p:nvPr>
            <p:ph idx="1"/>
          </p:nvPr>
        </p:nvSpPr>
        <p:spPr>
          <a:xfrm>
            <a:off x="373569" y="841248"/>
            <a:ext cx="8541831" cy="5509200"/>
          </a:xfrm>
        </p:spPr>
        <p:txBody>
          <a:bodyPr vert="horz" wrap="square" lIns="91440" tIns="45720" rIns="91440" bIns="45720" rtlCol="0" anchor="t">
            <a:spAutoFit/>
          </a:bodyPr>
          <a:lstStyle/>
          <a:p>
            <a:pPr lvl="0"/>
            <a:r>
              <a:rPr lang="en-US" sz="1600" dirty="0">
                <a:solidFill>
                  <a:srgbClr val="000000"/>
                </a:solidFill>
                <a:latin typeface="Arial"/>
                <a:cs typeface="Calibri"/>
              </a:rPr>
              <a:t>EOHHS has developed multiple channels for you to obtain information</a:t>
            </a:r>
          </a:p>
          <a:p>
            <a:pPr lvl="0"/>
            <a:endParaRPr lang="en-US" sz="1600" dirty="0">
              <a:solidFill>
                <a:srgbClr val="000000"/>
              </a:solidFill>
              <a:cs typeface="Calibri" pitchFamily="34" charset="0"/>
            </a:endParaRPr>
          </a:p>
          <a:p>
            <a:pPr marL="285750" lvl="0" indent="-285750">
              <a:buFont typeface="Wingdings" panose="05000000000000000000" pitchFamily="2" charset="2"/>
              <a:buChar char="§"/>
            </a:pPr>
            <a:r>
              <a:rPr lang="en-US" sz="1600" b="1" dirty="0">
                <a:solidFill>
                  <a:srgbClr val="000000"/>
                </a:solidFill>
                <a:cs typeface="Calibri" pitchFamily="34" charset="0"/>
              </a:rPr>
              <a:t>Mass.gov website</a:t>
            </a:r>
            <a:r>
              <a:rPr lang="en-US" sz="1600" dirty="0">
                <a:solidFill>
                  <a:srgbClr val="000000"/>
                </a:solidFill>
                <a:cs typeface="Calibri" pitchFamily="34" charset="0"/>
              </a:rPr>
              <a:t>. EOHHS posts provider resources, EVV documents and general EVV information on our EVV website: </a:t>
            </a:r>
            <a:r>
              <a:rPr lang="en-US" sz="1600" dirty="0">
                <a:solidFill>
                  <a:srgbClr val="000000"/>
                </a:solidFill>
                <a:cs typeface="Calibri" pitchFamily="34" charset="0"/>
                <a:hlinkClick r:id="rId6"/>
              </a:rPr>
              <a:t>https://www.mass.gov/info-details/electronic-visit-verification-evv</a:t>
            </a:r>
            <a:endParaRPr lang="en-US" sz="1600" dirty="0">
              <a:solidFill>
                <a:srgbClr val="000000"/>
              </a:solidFill>
              <a:cs typeface="Calibri" pitchFamily="34" charset="0"/>
            </a:endParaRPr>
          </a:p>
          <a:p>
            <a:pPr marL="285750" lvl="0" indent="-285750">
              <a:buFont typeface="Wingdings" panose="05000000000000000000" pitchFamily="2" charset="2"/>
              <a:buChar char="§"/>
            </a:pPr>
            <a:endParaRPr lang="en-US" sz="1600" dirty="0">
              <a:solidFill>
                <a:srgbClr val="000000"/>
              </a:solidFill>
              <a:cs typeface="Calibri" pitchFamily="34" charset="0"/>
            </a:endParaRPr>
          </a:p>
          <a:p>
            <a:pPr marL="285750" indent="-285750">
              <a:buFont typeface="Wingdings" panose="05000000000000000000" pitchFamily="2" charset="2"/>
              <a:buChar char="§"/>
            </a:pPr>
            <a:r>
              <a:rPr lang="en-US" sz="1600" b="1" dirty="0">
                <a:solidFill>
                  <a:srgbClr val="000000"/>
                </a:solidFill>
                <a:latin typeface="Arial"/>
                <a:cs typeface="Calibri"/>
              </a:rPr>
              <a:t>Email blasts.  </a:t>
            </a:r>
            <a:r>
              <a:rPr lang="en-US" sz="1600" dirty="0">
                <a:solidFill>
                  <a:srgbClr val="000000"/>
                </a:solidFill>
                <a:latin typeface="Arial"/>
                <a:cs typeface="Calibri"/>
              </a:rPr>
              <a:t>EOHHS has developed an email distribution list for SCO-One Care contracted providers. This distribution list will be used to notify providers when items are posted to the mass.gov site and to provide information about EVV implementation.  If you would like to be added to this distribution list, please email us at </a:t>
            </a:r>
            <a:r>
              <a:rPr lang="en-US" sz="1600" dirty="0">
                <a:solidFill>
                  <a:srgbClr val="000000"/>
                </a:solidFill>
                <a:latin typeface="Arial"/>
                <a:cs typeface="Calibri"/>
                <a:hlinkClick r:id="rId7"/>
              </a:rPr>
              <a:t>evvfeedback@state.ma.us</a:t>
            </a:r>
            <a:endParaRPr lang="en-US" sz="1600" dirty="0">
              <a:solidFill>
                <a:srgbClr val="000000"/>
              </a:solidFill>
              <a:latin typeface="Arial"/>
              <a:cs typeface="Calibri"/>
            </a:endParaRPr>
          </a:p>
          <a:p>
            <a:pPr marL="285750" lvl="0" indent="-285750">
              <a:buFont typeface="Wingdings" panose="05000000000000000000" pitchFamily="2" charset="2"/>
              <a:buChar char="§"/>
            </a:pPr>
            <a:endParaRPr lang="en-US" sz="1600" dirty="0">
              <a:solidFill>
                <a:srgbClr val="000000"/>
              </a:solidFill>
              <a:cs typeface="Calibri" pitchFamily="34" charset="0"/>
            </a:endParaRPr>
          </a:p>
          <a:p>
            <a:pPr marL="285750" lvl="0" indent="-285750">
              <a:buFont typeface="Wingdings" panose="05000000000000000000" pitchFamily="2" charset="2"/>
              <a:buChar char="§"/>
            </a:pPr>
            <a:r>
              <a:rPr lang="en-US" sz="1600" b="1" dirty="0">
                <a:solidFill>
                  <a:srgbClr val="000000"/>
                </a:solidFill>
                <a:cs typeface="Calibri" pitchFamily="34" charset="0"/>
              </a:rPr>
              <a:t>Dedicated EVV email.  </a:t>
            </a:r>
            <a:r>
              <a:rPr lang="en-US" sz="1600" dirty="0">
                <a:solidFill>
                  <a:srgbClr val="000000"/>
                </a:solidFill>
                <a:cs typeface="Calibri" pitchFamily="34" charset="0"/>
              </a:rPr>
              <a:t>The </a:t>
            </a:r>
            <a:r>
              <a:rPr lang="en-US" sz="1600" dirty="0">
                <a:solidFill>
                  <a:srgbClr val="000000"/>
                </a:solidFill>
                <a:cs typeface="Calibri" pitchFamily="34" charset="0"/>
                <a:hlinkClick r:id="rId7"/>
              </a:rPr>
              <a:t>evvfeedback@state.ma.us</a:t>
            </a:r>
            <a:r>
              <a:rPr lang="en-US" sz="1600" dirty="0">
                <a:solidFill>
                  <a:srgbClr val="000000"/>
                </a:solidFill>
                <a:cs typeface="Calibri" pitchFamily="34" charset="0"/>
              </a:rPr>
              <a:t> email account is monitored by the </a:t>
            </a:r>
            <a:r>
              <a:rPr lang="en-US" sz="1600" dirty="0">
                <a:cs typeface="Calibri" pitchFamily="34" charset="0"/>
              </a:rPr>
              <a:t>EOHHS EVV team.  Feel free to contact us if you have a question about EVV implementation.  This email box is for all agency-based providers using EVV.  Please indicate that you contract directly with Plans in your emails so we can be sure to answer your questions accurately.  </a:t>
            </a:r>
          </a:p>
          <a:p>
            <a:pPr marL="285750" lvl="0" indent="-285750">
              <a:buFont typeface="Wingdings" panose="05000000000000000000" pitchFamily="2" charset="2"/>
              <a:buChar char="§"/>
            </a:pPr>
            <a:endParaRPr lang="en-US" sz="1600" dirty="0">
              <a:solidFill>
                <a:srgbClr val="000000"/>
              </a:solidFill>
              <a:cs typeface="Calibri" pitchFamily="34" charset="0"/>
            </a:endParaRPr>
          </a:p>
          <a:p>
            <a:pPr marL="285750" indent="-285750">
              <a:buFont typeface="Wingdings" panose="05000000000000000000" pitchFamily="2" charset="2"/>
              <a:buChar char="§"/>
            </a:pPr>
            <a:r>
              <a:rPr lang="en-US" sz="1600" b="1" dirty="0">
                <a:latin typeface="Arial"/>
                <a:cs typeface="Calibri"/>
              </a:rPr>
              <a:t>Bi-weekly WebEx sessions.  </a:t>
            </a:r>
            <a:r>
              <a:rPr lang="en-US" sz="1600" dirty="0">
                <a:latin typeface="Arial"/>
                <a:cs typeface="Calibri"/>
              </a:rPr>
              <a:t>We will hold WebEx sessions every other Friday, starting May 7, 2021 from 1pm to 2pm.  We will present on an EVV-related topic and answer questions from attendees.  </a:t>
            </a:r>
            <a:endParaRPr lang="en-US" sz="1600" dirty="0">
              <a:cs typeface="Calibri" pitchFamily="34" charset="0"/>
            </a:endParaRPr>
          </a:p>
          <a:p>
            <a:pPr lvl="0"/>
            <a:endParaRPr lang="en-US" sz="1600" strike="sngStrike" dirty="0">
              <a:solidFill>
                <a:srgbClr val="000000"/>
              </a:solidFill>
              <a:cs typeface="Calibri" pitchFamily="34" charset="0"/>
            </a:endParaRPr>
          </a:p>
        </p:txBody>
      </p:sp>
    </p:spTree>
    <p:extLst>
      <p:ext uri="{BB962C8B-B14F-4D97-AF65-F5344CB8AC3E}">
        <p14:creationId xmlns:p14="http://schemas.microsoft.com/office/powerpoint/2010/main" val="2470903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luef.Zhp06Cb4WK1P5L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bAMDDFknUmeN0IWtpVK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XuMQZ9MR_CJteDoIdlr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3" ma:contentTypeDescription="Create a new document." ma:contentTypeScope="" ma:versionID="4e675b6aa05ff527e2f0704b0e8aa661">
  <xsd:schema xmlns:xsd="http://www.w3.org/2001/XMLSchema" xmlns:xs="http://www.w3.org/2001/XMLSchema" xmlns:p="http://schemas.microsoft.com/office/2006/metadata/properties" xmlns:ns2="6f41c3f9-0ddd-4792-9cc5-2aa494f8de60" targetNamespace="http://schemas.microsoft.com/office/2006/metadata/properties" ma:root="true" ma:fieldsID="fd7fefbd0c1b940df1935ab90e5132d6" ns2:_="">
    <xsd:import namespace="6f41c3f9-0ddd-4792-9cc5-2aa494f8de6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CDBA39-D6C4-4691-987D-BA2890839D30}">
  <ds:schemaRefs>
    <ds:schemaRef ds:uri="http://schemas.microsoft.com/sharepoint/v3/contenttype/forms"/>
  </ds:schemaRefs>
</ds:datastoreItem>
</file>

<file path=customXml/itemProps2.xml><?xml version="1.0" encoding="utf-8"?>
<ds:datastoreItem xmlns:ds="http://schemas.openxmlformats.org/officeDocument/2006/customXml" ds:itemID="{1AE9B6FF-F464-4B12-9C98-583105357695}">
  <ds:schemaRefs>
    <ds:schemaRef ds:uri="http://schemas.microsoft.com/office/2006/documentManagement/types"/>
    <ds:schemaRef ds:uri="http://purl.org/dc/dcmitype/"/>
    <ds:schemaRef ds:uri="http://purl.org/dc/terms/"/>
    <ds:schemaRef ds:uri="http://schemas.microsoft.com/office/infopath/2007/PartnerControls"/>
    <ds:schemaRef ds:uri="http://purl.org/dc/elements/1.1/"/>
    <ds:schemaRef ds:uri="6f41c3f9-0ddd-4792-9cc5-2aa494f8de60"/>
    <ds:schemaRef ds:uri="http://www.w3.org/XML/1998/namespace"/>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6CE84563-0DC0-4ECB-B815-6906B7739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41c3f9-0ddd-4792-9cc5-2aa494f8de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7007</TotalTime>
  <Words>967</Words>
  <Application>Microsoft Office PowerPoint</Application>
  <PresentationFormat>On-screen Show (4:3)</PresentationFormat>
  <Paragraphs>103</Paragraphs>
  <Slides>10</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Wingdings</vt:lpstr>
      <vt:lpstr>Wingdings,Sans-Serif</vt:lpstr>
      <vt:lpstr>Office Theme</vt:lpstr>
      <vt:lpstr>think-cell Slide</vt:lpstr>
      <vt:lpstr>Electronic Visit Verification  Phase II Implementation for  SCO/One Care Contracted Providers</vt:lpstr>
      <vt:lpstr>Agenda</vt:lpstr>
      <vt:lpstr>High-Level Overview of EVV</vt:lpstr>
      <vt:lpstr>High-Level Overview of EVV</vt:lpstr>
      <vt:lpstr>High-Level Overview of EVV</vt:lpstr>
      <vt:lpstr>Options for EVV Compliance</vt:lpstr>
      <vt:lpstr>EVV Implementation Process</vt:lpstr>
      <vt:lpstr>EVV Implementation Schedule</vt:lpstr>
      <vt:lpstr>EVV Communication</vt:lpstr>
      <vt:lpstr>PowerPoint Presentation</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Rubel, Jeremy (EHS)</dc:creator>
  <cp:lastModifiedBy>Miatta Edi-Osagie</cp:lastModifiedBy>
  <cp:revision>307</cp:revision>
  <cp:lastPrinted>2020-11-20T15:02:53Z</cp:lastPrinted>
  <dcterms:created xsi:type="dcterms:W3CDTF">2020-02-28T12:40:34Z</dcterms:created>
  <dcterms:modified xsi:type="dcterms:W3CDTF">2021-05-21T16:5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ies>
</file>